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1"/>
    <p:sldMasterId id="2147483648" r:id="rId2"/>
  </p:sldMasterIdLst>
  <p:notesMasterIdLst>
    <p:notesMasterId r:id="rId19"/>
  </p:notesMasterIdLst>
  <p:sldIdLst>
    <p:sldId id="257" r:id="rId3"/>
    <p:sldId id="335" r:id="rId4"/>
    <p:sldId id="337" r:id="rId5"/>
    <p:sldId id="338" r:id="rId6"/>
    <p:sldId id="341" r:id="rId7"/>
    <p:sldId id="342" r:id="rId8"/>
    <p:sldId id="343" r:id="rId9"/>
    <p:sldId id="339" r:id="rId10"/>
    <p:sldId id="344" r:id="rId11"/>
    <p:sldId id="345" r:id="rId12"/>
    <p:sldId id="346" r:id="rId13"/>
    <p:sldId id="340" r:id="rId14"/>
    <p:sldId id="347" r:id="rId15"/>
    <p:sldId id="348" r:id="rId16"/>
    <p:sldId id="349" r:id="rId17"/>
    <p:sldId id="350" r:id="rId18"/>
  </p:sldIdLst>
  <p:sldSz cx="12192000" cy="6858000"/>
  <p:notesSz cx="7315200" cy="9601200"/>
  <p:defaultTextStyle>
    <a:defPPr>
      <a:defRPr lang="pt-PT"/>
    </a:defPPr>
    <a:lvl1pPr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1pPr>
    <a:lvl2pPr marL="457154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2pPr>
    <a:lvl3pPr marL="914307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3pPr>
    <a:lvl4pPr marL="1371461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4pPr>
    <a:lvl5pPr marL="1828614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5pPr>
    <a:lvl6pPr marL="2285768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6pPr>
    <a:lvl7pPr marL="2742921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7pPr>
    <a:lvl8pPr marL="3200074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8pPr>
    <a:lvl9pPr marL="3657227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94660"/>
  </p:normalViewPr>
  <p:slideViewPr>
    <p:cSldViewPr snapToGrid="0">
      <p:cViewPr varScale="1">
        <p:scale>
          <a:sx n="67" d="100"/>
          <a:sy n="67" d="100"/>
        </p:scale>
        <p:origin x="572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9B666E-663B-46FD-875E-3F59244FCCE5}" type="datetimeFigureOut">
              <a:rPr lang="en-GB" smtClean="0"/>
              <a:t>16/03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F3C8F7-139A-418D-9057-4FB1E9267BC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50353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jp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0673574-F6C1-4E6E-A93D-DCF5BD65BC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2482" y="874979"/>
            <a:ext cx="6914556" cy="5400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905076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3" imgH="444" progId="TCLayout.ActiveDocument.1">
                  <p:embed/>
                </p:oleObj>
              </mc:Choice>
              <mc:Fallback>
                <p:oleObj name="think-cell Slide" r:id="rId4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1280685"/>
            <a:ext cx="8225143" cy="2002337"/>
          </a:xfrm>
          <a:prstGeom prst="rect">
            <a:avLst/>
          </a:prstGeom>
          <a:ln w="12700">
            <a:miter lim="400000"/>
          </a:ln>
        </p:spPr>
        <p:txBody>
          <a:bodyPr wrap="none" lIns="36000" tIns="36000" rIns="36000" bIns="36000" anchor="t">
            <a:noAutofit/>
          </a:bodyPr>
          <a:lstStyle>
            <a:lvl1pPr marL="0" indent="0">
              <a:buNone/>
              <a:defRPr lang="pt-PT" sz="5600" noProof="0" dirty="0" smtClean="0"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pt-PT" noProof="0"/>
              <a:t>Título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4AF4BDE-D063-45F5-8E92-712C36CB6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107835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600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/>
              <a:t>COURSE</a:t>
            </a:r>
          </a:p>
        </p:txBody>
      </p:sp>
      <p:sp>
        <p:nvSpPr>
          <p:cNvPr id="9" name="Text Placeholder 34">
            <a:extLst>
              <a:ext uri="{FF2B5EF4-FFF2-40B4-BE49-F238E27FC236}">
                <a16:creationId xmlns:a16="http://schemas.microsoft.com/office/drawing/2014/main" id="{36072A28-4101-4549-8D50-581847C1A422}"/>
              </a:ext>
            </a:extLst>
          </p:cNvPr>
          <p:cNvSpPr txBox="1">
            <a:spLocks/>
          </p:cNvSpPr>
          <p:nvPr userDrawn="1"/>
        </p:nvSpPr>
        <p:spPr>
          <a:xfrm>
            <a:off x="334962" y="4450217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defPPr>
              <a:defRPr lang="pt-PT"/>
            </a:defPPr>
            <a:lvl1pPr marL="0" indent="0" algn="r" eaLnBrk="0" hangingPunct="0">
              <a:buFont typeface="Arial" pitchFamily="34" charset="0"/>
              <a:buNone/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/>
                <a:ea typeface="Open Sans Light"/>
                <a:cs typeface="Open Sans Light"/>
              </a:defRPr>
            </a:lvl1pPr>
            <a:lvl2pPr marL="742874" indent="-285721" algn="just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latin typeface="+mn-lt"/>
              </a:defRPr>
            </a:lvl2pPr>
            <a:lvl3pPr marL="1142884" indent="-228577" algn="just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latin typeface="+mn-lt"/>
              </a:defRPr>
            </a:lvl3pPr>
            <a:lvl4pPr marL="1600037" indent="-228577" algn="just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latin typeface="+mn-lt"/>
              </a:defRPr>
            </a:lvl4pPr>
            <a:lvl5pPr marL="2057191" indent="-228577" algn="just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latin typeface="+mn-lt"/>
              </a:defRPr>
            </a:lvl5pPr>
            <a:lvl6pPr marL="251434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6pPr>
            <a:lvl7pPr marL="2971497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7pPr>
            <a:lvl8pPr marL="3428650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8pPr>
            <a:lvl9pPr marL="388580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9pPr>
          </a:lstStyle>
          <a:p>
            <a:pPr lvl="0" algn="l"/>
            <a:r>
              <a:rPr lang="pt-PT" sz="10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garida Soares &amp; Fábio Soares Santo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1AD1050-3CD3-4CF2-B8DC-780CDB1F7939}"/>
              </a:ext>
            </a:extLst>
          </p:cNvPr>
          <p:cNvGrpSpPr/>
          <p:nvPr userDrawn="1"/>
        </p:nvGrpSpPr>
        <p:grpSpPr>
          <a:xfrm>
            <a:off x="10488003" y="285585"/>
            <a:ext cx="1369035" cy="720001"/>
            <a:chOff x="10488003" y="285585"/>
            <a:chExt cx="1369035" cy="720001"/>
          </a:xfrm>
        </p:grpSpPr>
        <p:pic>
          <p:nvPicPr>
            <p:cNvPr id="11" name="Picture 10" descr="A close up of a logo&#10;&#10;Description automatically generated">
              <a:extLst>
                <a:ext uri="{FF2B5EF4-FFF2-40B4-BE49-F238E27FC236}">
                  <a16:creationId xmlns:a16="http://schemas.microsoft.com/office/drawing/2014/main" id="{AFE2A44E-E0E5-4D6E-85DD-A18848997151}"/>
                </a:ext>
              </a:extLst>
            </p:cNvPr>
            <p:cNvPicPr>
              <a:picLocks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488003" y="285586"/>
              <a:ext cx="720000" cy="720000"/>
            </a:xfrm>
            <a:prstGeom prst="rect">
              <a:avLst/>
            </a:prstGeom>
          </p:spPr>
        </p:pic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F8896B9C-643B-46E1-9B2D-F74B40981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9038" y="285585"/>
              <a:ext cx="1368000" cy="7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720000" tIns="72000" rIns="0" bIns="72000" anchor="ctr">
              <a:noAutofit/>
            </a:bodyPr>
            <a:lstStyle>
              <a:defPPr>
                <a:defRPr lang="pt-PT"/>
              </a:defPPr>
              <a:lvl1pPr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1pPr>
              <a:lvl2pPr marL="457154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2pPr>
              <a:lvl3pPr marL="914307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3pPr>
              <a:lvl4pPr marL="1371461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4pPr>
              <a:lvl5pPr marL="1828614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5pPr>
              <a:lvl6pPr marL="2285768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6pPr>
              <a:lvl7pPr marL="2742921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7pPr>
              <a:lvl8pPr marL="3200074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8pPr>
              <a:lvl9pPr marL="3657227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pt-PT" sz="1200" i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Helvetica Neue UltraLight"/>
                </a:rPr>
                <a:t>Video Le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22608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573686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36000" y="604500"/>
            <a:ext cx="11520000" cy="72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32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1864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6195060" y="-3809"/>
            <a:ext cx="5996940" cy="64119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 b="0" i="0" baseline="0">
                <a:solidFill>
                  <a:schemeClr val="tx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GB" dirty="0"/>
              <a:t>Double click to add </a:t>
            </a:r>
            <a:br>
              <a:rPr lang="en-GB" dirty="0"/>
            </a:br>
            <a:r>
              <a:rPr lang="en-GB" dirty="0"/>
              <a:t>your picture he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11340" y="1253592"/>
            <a:ext cx="5415090" cy="540306"/>
          </a:xfrm>
          <a:prstGeom prst="rect">
            <a:avLst/>
          </a:prstGeom>
        </p:spPr>
        <p:txBody>
          <a:bodyPr/>
          <a:lstStyle>
            <a:lvl1pPr marL="0" marR="0" indent="0" algn="l" defTabSz="41275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Playfair Display"/>
                <a:ea typeface="Playfair Display"/>
                <a:cs typeface="Playfair Display"/>
                <a:sym typeface="Helvetica Neue"/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11340" y="1885345"/>
            <a:ext cx="5415090" cy="290042"/>
          </a:xfrm>
          <a:prstGeom prst="rect">
            <a:avLst/>
          </a:prstGeom>
        </p:spPr>
        <p:txBody>
          <a:bodyPr/>
          <a:lstStyle>
            <a:lvl1pPr marL="0" marR="0" indent="0" algn="l" defTabSz="41275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cap="all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9CEE18D-3377-4BFB-9971-BC7C112EA4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1340" y="2505075"/>
            <a:ext cx="5415091" cy="3684588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spcBef>
                <a:spcPts val="600"/>
              </a:spcBef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4800"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spcBef>
                <a:spcPts val="600"/>
              </a:spcBef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9200"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97E3387-408C-4338-B044-37486BF07D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600" b="0" noProof="0" dirty="0">
                <a:solidFill>
                  <a:sysClr val="windowText" lastClr="000000"/>
                </a:solidFill>
                <a:latin typeface="Playfair Display" panose="00000500000000000000" pitchFamily="50" charset="0"/>
                <a:ea typeface="Playfair Display" panose="00000500000000000000" pitchFamily="50" charset="0"/>
                <a:cs typeface="Arial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FDE0AAA7-6478-4074-975E-B65D9765DC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61243" y="289605"/>
            <a:ext cx="1294207" cy="216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636254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32305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1379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bg>
      <p:bgPr>
        <a:solidFill>
          <a:srgbClr val="1849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EAC02AB-17C0-44EE-9D22-0D4D19FD4AB4}"/>
              </a:ext>
            </a:extLst>
          </p:cNvPr>
          <p:cNvSpPr/>
          <p:nvPr userDrawn="1"/>
        </p:nvSpPr>
        <p:spPr>
          <a:xfrm>
            <a:off x="-1" y="5964851"/>
            <a:ext cx="12192001" cy="913816"/>
          </a:xfrm>
          <a:prstGeom prst="rect">
            <a:avLst/>
          </a:prstGeom>
          <a:solidFill>
            <a:srgbClr val="18497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020898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1280685"/>
            <a:ext cx="8225143" cy="2002337"/>
          </a:xfrm>
          <a:prstGeom prst="rect">
            <a:avLst/>
          </a:prstGeom>
          <a:ln w="12700">
            <a:miter lim="400000"/>
          </a:ln>
        </p:spPr>
        <p:txBody>
          <a:bodyPr wrap="none" lIns="36000" tIns="36000" rIns="36000" bIns="36000" anchor="t">
            <a:noAutofit/>
          </a:bodyPr>
          <a:lstStyle>
            <a:lvl1pPr marL="0" indent="0">
              <a:buNone/>
              <a:defRPr lang="pt-PT" sz="5600" noProof="0" dirty="0" smtClean="0">
                <a:solidFill>
                  <a:schemeClr val="bg1"/>
                </a:solidFill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pt-PT" noProof="0"/>
              <a:t>Título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4AF4BDE-D063-45F5-8E92-712C36CB6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107835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600" b="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/>
              <a:t>COURSE</a:t>
            </a:r>
          </a:p>
        </p:txBody>
      </p:sp>
      <p:sp>
        <p:nvSpPr>
          <p:cNvPr id="9" name="Text Placeholder 34">
            <a:extLst>
              <a:ext uri="{FF2B5EF4-FFF2-40B4-BE49-F238E27FC236}">
                <a16:creationId xmlns:a16="http://schemas.microsoft.com/office/drawing/2014/main" id="{36072A28-4101-4549-8D50-581847C1A422}"/>
              </a:ext>
            </a:extLst>
          </p:cNvPr>
          <p:cNvSpPr txBox="1">
            <a:spLocks/>
          </p:cNvSpPr>
          <p:nvPr userDrawn="1"/>
        </p:nvSpPr>
        <p:spPr>
          <a:xfrm>
            <a:off x="334962" y="4450217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defPPr>
              <a:defRPr lang="pt-PT"/>
            </a:defPPr>
            <a:lvl1pPr marL="0" indent="0" algn="r" eaLnBrk="0" hangingPunct="0">
              <a:buFont typeface="Arial" pitchFamily="34" charset="0"/>
              <a:buNone/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/>
                <a:ea typeface="Open Sans Light"/>
                <a:cs typeface="Open Sans Light"/>
              </a:defRPr>
            </a:lvl1pPr>
            <a:lvl2pPr marL="742874" indent="-285721" algn="just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latin typeface="+mn-lt"/>
              </a:defRPr>
            </a:lvl2pPr>
            <a:lvl3pPr marL="1142884" indent="-228577" algn="just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latin typeface="+mn-lt"/>
              </a:defRPr>
            </a:lvl3pPr>
            <a:lvl4pPr marL="1600037" indent="-228577" algn="just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latin typeface="+mn-lt"/>
              </a:defRPr>
            </a:lvl4pPr>
            <a:lvl5pPr marL="2057191" indent="-228577" algn="just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latin typeface="+mn-lt"/>
              </a:defRPr>
            </a:lvl5pPr>
            <a:lvl6pPr marL="251434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6pPr>
            <a:lvl7pPr marL="2971497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7pPr>
            <a:lvl8pPr marL="3428650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8pPr>
            <a:lvl9pPr marL="388580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9pPr>
          </a:lstStyle>
          <a:p>
            <a:pPr lvl="0" algn="l"/>
            <a:r>
              <a:rPr lang="pt-PT" sz="10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ulio Crego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F8896B9C-643B-46E1-9B2D-F74B40981545}"/>
              </a:ext>
            </a:extLst>
          </p:cNvPr>
          <p:cNvSpPr>
            <a:spLocks/>
          </p:cNvSpPr>
          <p:nvPr/>
        </p:nvSpPr>
        <p:spPr bwMode="auto">
          <a:xfrm>
            <a:off x="10489038" y="285585"/>
            <a:ext cx="1368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wrap="square" lIns="720000" tIns="72000" rIns="0" bIns="72000" anchor="ctr">
            <a:noAutofit/>
          </a:bodyPr>
          <a:lstStyle>
            <a:defPPr>
              <a:defRPr lang="pt-PT"/>
            </a:defPPr>
            <a:lvl1pPr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1pPr>
            <a:lvl2pPr marL="457154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2pPr>
            <a:lvl3pPr marL="914307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3pPr>
            <a:lvl4pPr marL="1371461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4pPr>
            <a:lvl5pPr marL="1828614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5pPr>
            <a:lvl6pPr marL="2285768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6pPr>
            <a:lvl7pPr marL="2742921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7pPr>
            <a:lvl8pPr marL="3200074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8pPr>
            <a:lvl9pPr marL="3657227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pt-PT" sz="1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In-Class Lecture</a:t>
            </a: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25DB9709-0CAF-4EA1-BF85-6217835C77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10488003" y="285585"/>
            <a:ext cx="720000" cy="72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C4F7C1C-3865-4E26-8D49-14941ECB6EF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482" y="874979"/>
            <a:ext cx="7067775" cy="5400000"/>
          </a:xfrm>
          <a:prstGeom prst="rect">
            <a:avLst/>
          </a:prstGeom>
        </p:spPr>
      </p:pic>
      <p:pic>
        <p:nvPicPr>
          <p:cNvPr id="17" name="Image" descr="Image">
            <a:extLst>
              <a:ext uri="{FF2B5EF4-FFF2-40B4-BE49-F238E27FC236}">
                <a16:creationId xmlns:a16="http://schemas.microsoft.com/office/drawing/2014/main" id="{8A49B686-C675-4089-BC63-26C977AA2B8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3940" y="6227989"/>
            <a:ext cx="11624120" cy="37179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28384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6125436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4366329"/>
            <a:ext cx="9000000" cy="934478"/>
          </a:xfrm>
          <a:prstGeom prst="rect">
            <a:avLst/>
          </a:prstGeom>
          <a:ln w="12700">
            <a:miter lim="400000"/>
          </a:ln>
        </p:spPr>
        <p:txBody>
          <a:bodyPr wrap="none" lIns="36000" tIns="36000" rIns="36000" bIns="36000" anchor="ctr">
            <a:noAutofit/>
          </a:bodyPr>
          <a:lstStyle>
            <a:lvl1pPr marL="0" indent="0">
              <a:buNone/>
              <a:defRPr lang="pt-PT" sz="5600" noProof="0" dirty="0" smtClean="0"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pt-PT" noProof="0" dirty="0"/>
              <a:t>Título</a:t>
            </a:r>
          </a:p>
        </p:txBody>
      </p:sp>
      <p:sp>
        <p:nvSpPr>
          <p:cNvPr id="31" name="Line">
            <a:extLst>
              <a:ext uri="{FF2B5EF4-FFF2-40B4-BE49-F238E27FC236}">
                <a16:creationId xmlns:a16="http://schemas.microsoft.com/office/drawing/2014/main" id="{1E64D972-03A1-474A-A7B7-B286A11AEF5B}"/>
              </a:ext>
            </a:extLst>
          </p:cNvPr>
          <p:cNvSpPr/>
          <p:nvPr/>
        </p:nvSpPr>
        <p:spPr>
          <a:xfrm>
            <a:off x="334963" y="691600"/>
            <a:ext cx="571696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34" name="Line">
            <a:extLst>
              <a:ext uri="{FF2B5EF4-FFF2-40B4-BE49-F238E27FC236}">
                <a16:creationId xmlns:a16="http://schemas.microsoft.com/office/drawing/2014/main" id="{278A290D-5D0B-45A5-B4AF-E2252598C632}"/>
              </a:ext>
            </a:extLst>
          </p:cNvPr>
          <p:cNvSpPr/>
          <p:nvPr/>
        </p:nvSpPr>
        <p:spPr>
          <a:xfrm>
            <a:off x="11285341" y="691600"/>
            <a:ext cx="571696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09B5C12-4FA4-4196-9321-47AEAE3B88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5370115"/>
            <a:ext cx="5400000" cy="328295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800" b="0" cap="all" smtClean="0">
                <a:latin typeface="Open Sans Light"/>
                <a:ea typeface="Open Sans Light"/>
                <a:cs typeface="Open Sans Light"/>
              </a:defRPr>
            </a:lvl1pPr>
            <a:lvl2pPr>
              <a:defRPr lang="en-US" smtClean="0">
                <a:latin typeface="Arial" pitchFamily="34" charset="0"/>
                <a:ea typeface="Geneva" pitchFamily="-112" charset="-128"/>
              </a:defRPr>
            </a:lvl2pPr>
            <a:lvl3pPr>
              <a:defRPr lang="en-US" smtClean="0">
                <a:latin typeface="Arial" pitchFamily="34" charset="0"/>
                <a:ea typeface="Geneva" pitchFamily="-112" charset="-128"/>
              </a:defRPr>
            </a:lvl3pPr>
            <a:lvl4pPr>
              <a:defRPr lang="en-US" smtClean="0">
                <a:latin typeface="Arial" pitchFamily="34" charset="0"/>
                <a:ea typeface="Geneva" pitchFamily="-112" charset="-128"/>
              </a:defRPr>
            </a:lvl4pPr>
            <a:lvl5pPr>
              <a:defRPr lang="pt-PT">
                <a:latin typeface="Arial" pitchFamily="34" charset="0"/>
                <a:ea typeface="Geneva" pitchFamily="-112" charset="-128"/>
              </a:defRPr>
            </a:lvl5pPr>
          </a:lstStyle>
          <a:p>
            <a:pPr lvl="0" defTabSz="457154">
              <a:spcBef>
                <a:spcPct val="0"/>
              </a:spcBef>
            </a:pPr>
            <a:r>
              <a:rPr lang="en-US" dirty="0" err="1"/>
              <a:t>Subtítulo</a:t>
            </a:r>
            <a:endParaRPr lang="en-US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4AF4BDE-D063-45F5-8E92-712C36CB6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62948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451" b="0" dirty="0" smtClean="0"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 dirty="0"/>
              <a:t>Nome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A974A6AE-E99E-4260-B472-77FDDA779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7037" y="262948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 algn="r">
              <a:buNone/>
              <a:defRPr lang="en-US" sz="1000" b="0" dirty="0" smtClean="0">
                <a:latin typeface="Open Sans Light"/>
                <a:ea typeface="Open Sans Light"/>
                <a:cs typeface="Open Sans Light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 dirty="0"/>
              <a:t>DATA | LOCAL</a:t>
            </a:r>
          </a:p>
        </p:txBody>
      </p:sp>
    </p:spTree>
    <p:extLst>
      <p:ext uri="{BB962C8B-B14F-4D97-AF65-F5344CB8AC3E}">
        <p14:creationId xmlns:p14="http://schemas.microsoft.com/office/powerpoint/2010/main" val="33487305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1124659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">
            <a:extLst>
              <a:ext uri="{FF2B5EF4-FFF2-40B4-BE49-F238E27FC236}">
                <a16:creationId xmlns:a16="http://schemas.microsoft.com/office/drawing/2014/main" id="{DA2B5D46-25C4-41D0-B81B-D8BC22BE0013}"/>
              </a:ext>
            </a:extLst>
          </p:cNvPr>
          <p:cNvSpPr/>
          <p:nvPr/>
        </p:nvSpPr>
        <p:spPr>
          <a:xfrm>
            <a:off x="-26182" y="-43483"/>
            <a:ext cx="12244363" cy="694496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A3CCC234-F686-4C31-925A-5DC7C31846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940" y="6242503"/>
            <a:ext cx="11624120" cy="37179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9476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B6389-65A4-42AD-AA7A-CBDDF223E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12466C-C663-4914-9756-58FE89AA2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563329"/>
            <a:ext cx="11519999" cy="461363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buClr>
                <a:schemeClr val="tx1"/>
              </a:buClr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9DA4660-A039-409B-AA51-DEBF1C404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</p:spTree>
    <p:extLst>
      <p:ext uri="{BB962C8B-B14F-4D97-AF65-F5344CB8AC3E}">
        <p14:creationId xmlns:p14="http://schemas.microsoft.com/office/powerpoint/2010/main" val="3496813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B6389-65A4-42AD-AA7A-CBDDF223E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12466C-C663-4914-9756-58FE89AA2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563329"/>
            <a:ext cx="11519999" cy="461363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buClr>
                <a:schemeClr val="tx1"/>
              </a:buClr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9DA4660-A039-409B-AA51-DEBF1C404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</p:spTree>
    <p:extLst>
      <p:ext uri="{BB962C8B-B14F-4D97-AF65-F5344CB8AC3E}">
        <p14:creationId xmlns:p14="http://schemas.microsoft.com/office/powerpoint/2010/main" val="20074326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E8C51C-5CE1-4C30-BD2B-2ED4ECEE6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4195950"/>
            <a:ext cx="11519450" cy="612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28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chapter nam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0F594DF0-F4B5-46C6-855F-5A3DEF370B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64517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800" b="0" noProof="0" dirty="0">
                <a:solidFill>
                  <a:sysClr val="windowText" lastClr="000000"/>
                </a:solidFill>
                <a:latin typeface="Playfair Display" panose="00000500000000000000" pitchFamily="50" charset="0"/>
                <a:ea typeface="Playfair Display" panose="00000500000000000000" pitchFamily="50" charset="0"/>
                <a:cs typeface="Arial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document title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3F5866F4-05A4-4B38-B61D-1E029C5E31EA}"/>
              </a:ext>
            </a:extLst>
          </p:cNvPr>
          <p:cNvSpPr/>
          <p:nvPr/>
        </p:nvSpPr>
        <p:spPr>
          <a:xfrm>
            <a:off x="336550" y="4082563"/>
            <a:ext cx="632619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91179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0289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/>
              <a:t>Click to edit sub-title</a:t>
            </a:r>
          </a:p>
        </p:txBody>
      </p:sp>
      <p:pic>
        <p:nvPicPr>
          <p:cNvPr id="5" name="ISPRING_QUIZ_SHAPE3">
            <a:extLst>
              <a:ext uri="{FF2B5EF4-FFF2-40B4-BE49-F238E27FC236}">
                <a16:creationId xmlns:a16="http://schemas.microsoft.com/office/drawing/2014/main" id="{960E605E-404E-4319-9CB9-08963B17227B}"/>
              </a:ext>
            </a:extLst>
          </p:cNvPr>
          <p:cNvPicPr>
            <a:picLocks/>
          </p:cNvPicPr>
          <p:nvPr userDrawn="1"/>
        </p:nvPicPr>
        <p:blipFill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>
          <a:xfrm>
            <a:off x="336000" y="947585"/>
            <a:ext cx="432000" cy="432000"/>
          </a:xfrm>
          <a:prstGeom prst="rect">
            <a:avLst/>
          </a:prstGeom>
          <a:effectLst>
            <a:innerShdw>
              <a:scrgbClr r="0" g="0" b="0">
                <a:alpha val="0"/>
              </a:scrgbClr>
            </a:inn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56A0C22-B9B3-4244-9FA2-07670AB35833}"/>
              </a:ext>
            </a:extLst>
          </p:cNvPr>
          <p:cNvSpPr/>
          <p:nvPr userDrawn="1"/>
        </p:nvSpPr>
        <p:spPr bwMode="auto">
          <a:xfrm>
            <a:off x="336549" y="604500"/>
            <a:ext cx="11520000" cy="720000"/>
          </a:xfrm>
          <a:prstGeom prst="rect">
            <a:avLst/>
          </a:prstGeom>
        </p:spPr>
        <p:txBody>
          <a:bodyPr lIns="540000" tIns="0" rIns="0" bIns="0" anchor="b"/>
          <a:lstStyle/>
          <a:p>
            <a:pPr marL="0" lvl="0" indent="0" algn="just" eaLnBrk="0" hangingPunct="0">
              <a:spcBef>
                <a:spcPts val="0"/>
              </a:spcBef>
              <a:buFont typeface="Arial" pitchFamily="34" charset="0"/>
              <a:buNone/>
            </a:pPr>
            <a:r>
              <a:rPr lang="en-US" sz="2400" b="0" dirty="0">
                <a:latin typeface="Playfair Display" panose="00000500000000000000" pitchFamily="50" charset="0"/>
                <a:cs typeface="Arial" panose="020B0604020202020204" pitchFamily="34" charset="0"/>
                <a:sym typeface="Arial" charset="0"/>
              </a:rPr>
              <a:t>Quiz</a:t>
            </a:r>
            <a:endParaRPr lang="pt-PT" sz="2400" b="0" dirty="0">
              <a:latin typeface="Playfair Display" panose="00000500000000000000" pitchFamily="50" charset="0"/>
              <a:cs typeface="Arial" panose="020B0604020202020204" pitchFamily="34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37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FB93CF-E120-4C23-84DF-C2FBA4A76B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000" y="2094271"/>
            <a:ext cx="5661575" cy="409539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D54E4C-DE0C-4640-98C4-A5045C7DD6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094271"/>
            <a:ext cx="5683799" cy="40953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2B97CFA7-6D8C-4B36-BA58-C9139CBC29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F3D59A-10EB-4D6D-A37C-A07C3BE0F8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C51137-4914-47B5-9DBA-B8255B3736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6588" y="1351383"/>
            <a:ext cx="5650988" cy="65722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090E41E-4E56-486F-9C19-CBC429716C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351383"/>
            <a:ext cx="5683800" cy="65722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DEC249-2FA7-4552-A9EE-E528E5E1383F}"/>
              </a:ext>
            </a:extLst>
          </p:cNvPr>
          <p:cNvCxnSpPr/>
          <p:nvPr userDrawn="1"/>
        </p:nvCxnSpPr>
        <p:spPr>
          <a:xfrm>
            <a:off x="336000" y="2008608"/>
            <a:ext cx="56615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ACAF9FE-FE9B-410F-8BEE-FEAF9F777C8C}"/>
              </a:ext>
            </a:extLst>
          </p:cNvPr>
          <p:cNvCxnSpPr/>
          <p:nvPr userDrawn="1"/>
        </p:nvCxnSpPr>
        <p:spPr>
          <a:xfrm>
            <a:off x="6199663" y="2011108"/>
            <a:ext cx="56615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031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49862464-1843-4B6F-AAF2-DAC45429C0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6000" y="6105724"/>
            <a:ext cx="11520000" cy="360000"/>
          </a:xfrm>
          <a:prstGeom prst="rect">
            <a:avLst/>
          </a:prstGeom>
          <a:ln w="12700">
            <a:miter lim="4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59" r:id="rId3"/>
    <p:sldLayoutId id="2147483663" r:id="rId4"/>
    <p:sldLayoutId id="2147483674" r:id="rId5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5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07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46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61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65" indent="-34286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4" indent="-285721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4" indent="-22857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37" indent="-22857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1" indent="-22857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4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7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0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4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8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15431333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 bwMode="auto">
          <a:xfrm>
            <a:off x="11375938" y="6565800"/>
            <a:ext cx="480000" cy="21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pPr marL="342865" lvl="0" indent="-342865" algn="r" eaLnBrk="0" hangingPunct="0">
              <a:spcBef>
                <a:spcPct val="20000"/>
              </a:spcBef>
              <a:buFont typeface="Arial" pitchFamily="34" charset="0"/>
              <a:buNone/>
            </a:pPr>
            <a:fld id="{77DE0158-972D-403A-B6DD-1A7CD6BBD9B1}" type="slidenum">
              <a:rPr lang="pt-PT" sz="1000" b="0" cap="none" baseline="0" noProof="0" smtClean="0">
                <a:solidFill>
                  <a:schemeClr val="tx1"/>
                </a:solidFill>
                <a:latin typeface="Open Sans Light"/>
                <a:cs typeface="Arial" pitchFamily="34" charset="0"/>
              </a:rPr>
              <a:pPr marL="342865" lvl="0" indent="-342865" algn="r" eaLnBrk="0" hangingPunct="0">
                <a:spcBef>
                  <a:spcPct val="20000"/>
                </a:spcBef>
                <a:buFont typeface="Arial" pitchFamily="34" charset="0"/>
                <a:buNone/>
              </a:pPr>
              <a:t>‹#›</a:t>
            </a:fld>
            <a:endParaRPr lang="pt-PT" sz="1000" b="0" cap="none" baseline="0" noProof="0" dirty="0">
              <a:solidFill>
                <a:schemeClr val="tx1"/>
              </a:solidFill>
              <a:latin typeface="Open Sans Light"/>
              <a:cs typeface="Arial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76C39B-BEA3-4755-B55A-633348E47235}"/>
              </a:ext>
            </a:extLst>
          </p:cNvPr>
          <p:cNvSpPr/>
          <p:nvPr/>
        </p:nvSpPr>
        <p:spPr bwMode="auto">
          <a:xfrm>
            <a:off x="3908" y="6429425"/>
            <a:ext cx="12188091" cy="10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A3A91A08-17A2-49CA-8D7B-0F5F75227E4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561243" y="289605"/>
            <a:ext cx="1294207" cy="216000"/>
          </a:xfrm>
          <a:prstGeom prst="rect">
            <a:avLst/>
          </a:prstGeom>
          <a:ln w="12700">
            <a:miter lim="4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4" r:id="rId2"/>
    <p:sldLayoutId id="2147483670" r:id="rId3"/>
    <p:sldLayoutId id="2147483673" r:id="rId4"/>
    <p:sldLayoutId id="2147483672" r:id="rId5"/>
    <p:sldLayoutId id="2147483666" r:id="rId6"/>
    <p:sldLayoutId id="2147483662" r:id="rId7"/>
  </p:sldLayoutIdLst>
  <p:hf hdr="0" dt="0"/>
  <p:txStyles>
    <p:titleStyle>
      <a:lvl1pPr algn="ctr" defTabSz="457154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Geneva" pitchFamily="-112" charset="-128"/>
          <a:cs typeface="Geneva" pitchFamily="-112" charset="-128"/>
        </a:defRPr>
      </a:lvl1pPr>
      <a:lvl2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2pPr>
      <a:lvl3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3pPr>
      <a:lvl4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4pPr>
      <a:lvl5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5pPr>
      <a:lvl6pPr marL="457154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6pPr>
      <a:lvl7pPr marL="914307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7pPr>
      <a:lvl8pPr marL="1371461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8pPr>
      <a:lvl9pPr marL="1828614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9pPr>
    </p:titleStyle>
    <p:bodyStyle>
      <a:lvl1pPr marL="342865" indent="-342865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Geneva" pitchFamily="-112" charset="-128"/>
          <a:cs typeface="Geneva" pitchFamily="-112" charset="-128"/>
        </a:defRPr>
      </a:lvl1pPr>
      <a:lvl2pPr marL="742874" indent="-285721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2pPr>
      <a:lvl3pPr marL="1142884" indent="-228577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3pPr>
      <a:lvl4pPr marL="1600037" indent="-228577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4pPr>
      <a:lvl5pPr marL="2057191" indent="-228577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5pPr>
      <a:lvl6pPr marL="2514344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7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0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4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7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1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8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1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68">
          <p15:clr>
            <a:srgbClr val="F26B43"/>
          </p15:clr>
        </p15:guide>
        <p15:guide id="4" pos="212">
          <p15:clr>
            <a:srgbClr val="F26B43"/>
          </p15:clr>
        </p15:guide>
        <p15:guide id="5" orient="horz" pos="404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Relationship Id="rId9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ACCAE5E-8425-47A1-8B9E-A4C2C379F77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Mock Midterm</a:t>
            </a:r>
            <a:br>
              <a:rPr lang="en-US" dirty="0"/>
            </a:br>
            <a:r>
              <a:rPr lang="en-US" dirty="0"/>
              <a:t>Exam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9B9C6B-4733-4225-924A-F90094E4DF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vanced Financial Man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033798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A3CD92-27FD-CD54-327D-2A5B95A31B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48EBAEC-11C1-0993-6418-385B3F51BE4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D9C4D4-36CF-27C5-62D7-83EFC0304F8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053DAA2-97FB-6154-3F76-D23797EAD4F4}"/>
              </a:ext>
            </a:extLst>
          </p:cNvPr>
          <p:cNvSpPr txBox="1"/>
          <p:nvPr/>
        </p:nvSpPr>
        <p:spPr>
          <a:xfrm>
            <a:off x="614362" y="1400175"/>
            <a:ext cx="1096327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sider for the first four questions the firms B, C, and D. Firm B has an expected return of 4%, Firm C, 6%, and Firm D, 6.5%. The standard deviation of Firm B,C, D are 20%, 25%, 32%, respectively. The returns of Firm B and C have a correlation of 0.2, the returns of Firm B and D have a correlation of 0.3, and the returns of Firm C and D are independent (uncorrelated). The risk-free asset return is 2%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3AE1CC2-9F72-907B-6E9D-93A84B4E7581}"/>
              </a:ext>
            </a:extLst>
          </p:cNvPr>
          <p:cNvSpPr txBox="1"/>
          <p:nvPr/>
        </p:nvSpPr>
        <p:spPr>
          <a:xfrm>
            <a:off x="614362" y="2952918"/>
            <a:ext cx="98155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C) If you invest 100 euros in B, 200 in C, and 100 in the risk-free asset, what is your expected return?</a:t>
            </a:r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D188DC3-395C-7F8C-7564-8C1FE1B3DC37}"/>
              </a:ext>
            </a:extLst>
          </p:cNvPr>
          <p:cNvSpPr txBox="1"/>
          <p:nvPr/>
        </p:nvSpPr>
        <p:spPr>
          <a:xfrm>
            <a:off x="614361" y="4722249"/>
            <a:ext cx="981551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D) If you invest in the portfolio above, what is the standard deviation of the return?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56C40F5-912F-7A24-5503-FE7BCB05C373}"/>
                  </a:ext>
                </a:extLst>
              </p:cNvPr>
              <p:cNvSpPr txBox="1"/>
              <p:nvPr/>
            </p:nvSpPr>
            <p:spPr>
              <a:xfrm>
                <a:off x="3495675" y="3429000"/>
                <a:ext cx="1453988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00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56C40F5-912F-7A24-5503-FE7BCB05C37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95675" y="3429000"/>
                <a:ext cx="1453988" cy="520399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B5FB2D9-9452-6100-3011-5DBFCE1FD998}"/>
                  </a:ext>
                </a:extLst>
              </p:cNvPr>
              <p:cNvSpPr txBox="1"/>
              <p:nvPr/>
            </p:nvSpPr>
            <p:spPr>
              <a:xfrm>
                <a:off x="7648575" y="3429000"/>
                <a:ext cx="1514774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0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00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B5FB2D9-9452-6100-3011-5DBFCE1FD99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48575" y="3429000"/>
                <a:ext cx="1514774" cy="5203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A60DBB3D-DF35-6587-E781-C91604868D68}"/>
                  </a:ext>
                </a:extLst>
              </p:cNvPr>
              <p:cNvSpPr txBox="1"/>
              <p:nvPr/>
            </p:nvSpPr>
            <p:spPr>
              <a:xfrm>
                <a:off x="4876800" y="4076522"/>
                <a:ext cx="3071867" cy="5186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den>
                      </m:f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4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6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4</m:t>
                          </m:r>
                        </m:den>
                      </m:f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2=4.5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A60DBB3D-DF35-6587-E781-C91604868D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76800" y="4076522"/>
                <a:ext cx="3071867" cy="51860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9561B5B3-04BB-E8F3-D579-367720DDFD8F}"/>
                  </a:ext>
                </a:extLst>
              </p:cNvPr>
              <p:cNvSpPr txBox="1"/>
              <p:nvPr/>
            </p:nvSpPr>
            <p:spPr>
              <a:xfrm>
                <a:off x="2350293" y="5367976"/>
                <a:ext cx="6914522" cy="67704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2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</m:e>
                          </m:d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25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2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den>
                      </m:f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0.2⋅0.25⋅0.2=0.002062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9561B5B3-04BB-E8F3-D579-367720DDFD8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50293" y="5367976"/>
                <a:ext cx="6914522" cy="67704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2855CAE-09BC-55F7-CD0C-FC9CDB0E7561}"/>
                  </a:ext>
                </a:extLst>
              </p:cNvPr>
              <p:cNvSpPr txBox="1"/>
              <p:nvPr/>
            </p:nvSpPr>
            <p:spPr>
              <a:xfrm>
                <a:off x="9572625" y="5595583"/>
                <a:ext cx="1776512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𝑡𝑑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4.36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2855CAE-09BC-55F7-CD0C-FC9CDB0E756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572625" y="5595583"/>
                <a:ext cx="1776512" cy="276999"/>
              </a:xfrm>
              <a:prstGeom prst="rect">
                <a:avLst/>
              </a:prstGeom>
              <a:blipFill>
                <a:blip r:embed="rId6"/>
                <a:stretch>
                  <a:fillRect l="-2397" r="-308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27085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12" grpId="0"/>
      <p:bldP spid="14" grpId="0"/>
      <p:bldP spid="15" grpId="0"/>
      <p:bldP spid="16" grpId="0"/>
      <p:bldP spid="17" grpId="0"/>
      <p:bldP spid="1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4A05CA-678D-5DE2-F83B-3FDFE20084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CD0BFD5-F04C-A1C9-3710-0608574E391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072516D-9914-772B-0617-1A9C09DAF1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973FB1-87C8-6164-1831-1AD8B2CE2754}"/>
              </a:ext>
            </a:extLst>
          </p:cNvPr>
          <p:cNvSpPr txBox="1"/>
          <p:nvPr/>
        </p:nvSpPr>
        <p:spPr>
          <a:xfrm>
            <a:off x="614362" y="1400175"/>
            <a:ext cx="1096327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sider for the first four questions the firms B, C, and D. Firm B has an expected return of 4%, Firm C, 6%, and Firm D, 6.5%. The standard deviation of Firm B,C, D are 20%, 25%, 32%, respectively. The returns of Firm B and C have a correlation of 0.2, the returns of Firm B and D have a correlation of 0.3, and the returns of Firm C and D are independent (uncorrelated). The risk-free asset return is 2%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464A4E-BEA4-79E0-6522-E15DB2BADD36}"/>
              </a:ext>
            </a:extLst>
          </p:cNvPr>
          <p:cNvSpPr txBox="1"/>
          <p:nvPr/>
        </p:nvSpPr>
        <p:spPr>
          <a:xfrm>
            <a:off x="614361" y="2764908"/>
            <a:ext cx="1019175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E) Compute the standard deviation of the returns of a portfolio that invests 50% in Firm E and 50% in Firm F</a:t>
            </a:r>
            <a:r>
              <a:rPr lang="en-US" dirty="0"/>
              <a:t> </a:t>
            </a: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DF6BA44-72EF-81CA-4E84-7CB77630F8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1248502"/>
              </p:ext>
            </p:extLst>
          </p:nvPr>
        </p:nvGraphicFramePr>
        <p:xfrm>
          <a:off x="866775" y="3429000"/>
          <a:ext cx="2876550" cy="24484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8850">
                  <a:extLst>
                    <a:ext uri="{9D8B030D-6E8A-4147-A177-3AD203B41FA5}">
                      <a16:colId xmlns:a16="http://schemas.microsoft.com/office/drawing/2014/main" val="162132322"/>
                    </a:ext>
                  </a:extLst>
                </a:gridCol>
                <a:gridCol w="958850">
                  <a:extLst>
                    <a:ext uri="{9D8B030D-6E8A-4147-A177-3AD203B41FA5}">
                      <a16:colId xmlns:a16="http://schemas.microsoft.com/office/drawing/2014/main" val="3538343039"/>
                    </a:ext>
                  </a:extLst>
                </a:gridCol>
                <a:gridCol w="958850">
                  <a:extLst>
                    <a:ext uri="{9D8B030D-6E8A-4147-A177-3AD203B41FA5}">
                      <a16:colId xmlns:a16="http://schemas.microsoft.com/office/drawing/2014/main" val="256471557"/>
                    </a:ext>
                  </a:extLst>
                </a:gridCol>
              </a:tblGrid>
              <a:tr h="3099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Yea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Firm 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Firm F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8799652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01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.1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0.57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341894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01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.5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-0.26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8466943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018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8.4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7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991397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019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-3.12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-0.25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124839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020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-0.50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5.00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257503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2021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>
                          <a:effectLst/>
                        </a:rPr>
                        <a:t>1%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%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514445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162B210B-AE54-DAC1-E47A-B2EA4D0EB5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5427210"/>
              </p:ext>
            </p:extLst>
          </p:nvPr>
        </p:nvGraphicFramePr>
        <p:xfrm>
          <a:off x="3743325" y="3428999"/>
          <a:ext cx="958850" cy="24484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8850">
                  <a:extLst>
                    <a:ext uri="{9D8B030D-6E8A-4147-A177-3AD203B41FA5}">
                      <a16:colId xmlns:a16="http://schemas.microsoft.com/office/drawing/2014/main" val="162132322"/>
                    </a:ext>
                  </a:extLst>
                </a:gridCol>
              </a:tblGrid>
              <a:tr h="3099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Portfolio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8799652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.3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341894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0.62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8466943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7.7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991397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-1.69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124839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2.2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257503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1.5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514445"/>
                  </a:ext>
                </a:extLst>
              </a:tr>
            </a:tbl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557A4B97-A8EA-8C32-D028-42F9380B683D}"/>
              </a:ext>
            </a:extLst>
          </p:cNvPr>
          <p:cNvSpPr/>
          <p:nvPr/>
        </p:nvSpPr>
        <p:spPr bwMode="auto">
          <a:xfrm>
            <a:off x="3971925" y="3829050"/>
            <a:ext cx="609600" cy="361950"/>
          </a:xfrm>
          <a:prstGeom prst="ellips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E6A378D-7BAD-E596-02AE-9D31BF3F1919}"/>
                  </a:ext>
                </a:extLst>
              </p:cNvPr>
              <p:cNvSpPr txBox="1"/>
              <p:nvPr/>
            </p:nvSpPr>
            <p:spPr>
              <a:xfrm>
                <a:off x="3178175" y="3124201"/>
                <a:ext cx="2350002" cy="276999"/>
              </a:xfrm>
              <a:prstGeom prst="rect">
                <a:avLst/>
              </a:prstGeom>
              <a:noFill/>
              <a:ln w="28575">
                <a:solidFill>
                  <a:schemeClr val="accent1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0.5×2.10+0.5×0.57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DE6A378D-7BAD-E596-02AE-9D31BF3F191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8175" y="3124201"/>
                <a:ext cx="2350002" cy="276999"/>
              </a:xfrm>
              <a:prstGeom prst="rect">
                <a:avLst/>
              </a:prstGeom>
              <a:blipFill>
                <a:blip r:embed="rId2"/>
                <a:stretch>
                  <a:fillRect l="-1023" r="-1023" b="-2000"/>
                </a:stretch>
              </a:blipFill>
              <a:ln w="28575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D2207B3-AD9F-C9E2-C2AF-0C8805DA07AB}"/>
                  </a:ext>
                </a:extLst>
              </p:cNvPr>
              <p:cNvSpPr txBox="1"/>
              <p:nvPr/>
            </p:nvSpPr>
            <p:spPr>
              <a:xfrm>
                <a:off x="6095999" y="3384798"/>
                <a:ext cx="5892382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6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.34+0.62+7.70−1.69+2.25+1.50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.9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D2207B3-AD9F-C9E2-C2AF-0C8805DA07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5999" y="3384798"/>
                <a:ext cx="5892382" cy="5203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1" name="Table 20">
            <a:extLst>
              <a:ext uri="{FF2B5EF4-FFF2-40B4-BE49-F238E27FC236}">
                <a16:creationId xmlns:a16="http://schemas.microsoft.com/office/drawing/2014/main" id="{D6F6FFDB-CEAB-F561-B8C8-D029EFB1088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3270165"/>
              </p:ext>
            </p:extLst>
          </p:nvPr>
        </p:nvGraphicFramePr>
        <p:xfrm>
          <a:off x="4751386" y="3428999"/>
          <a:ext cx="958850" cy="244843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8850">
                  <a:extLst>
                    <a:ext uri="{9D8B030D-6E8A-4147-A177-3AD203B41FA5}">
                      <a16:colId xmlns:a16="http://schemas.microsoft.com/office/drawing/2014/main" val="162132322"/>
                    </a:ext>
                  </a:extLst>
                </a:gridCol>
              </a:tblGrid>
              <a:tr h="30992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Portfolio-m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8799652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-0.61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341894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-1.3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8466943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5.7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5991397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-3.6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2124839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0.3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6257503"/>
                  </a:ext>
                </a:extLst>
              </a:tr>
              <a:tr h="356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u="none" strike="noStrike" dirty="0">
                          <a:effectLst/>
                        </a:rPr>
                        <a:t>-0.4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514445"/>
                  </a:ext>
                </a:extLst>
              </a:tr>
            </a:tbl>
          </a:graphicData>
        </a:graphic>
      </p:graphicFrame>
      <p:sp>
        <p:nvSpPr>
          <p:cNvPr id="22" name="Oval 21">
            <a:extLst>
              <a:ext uri="{FF2B5EF4-FFF2-40B4-BE49-F238E27FC236}">
                <a16:creationId xmlns:a16="http://schemas.microsoft.com/office/drawing/2014/main" id="{22F09CB1-C584-6E42-57C2-01CC61F6FDD9}"/>
              </a:ext>
            </a:extLst>
          </p:cNvPr>
          <p:cNvSpPr/>
          <p:nvPr/>
        </p:nvSpPr>
        <p:spPr bwMode="auto">
          <a:xfrm>
            <a:off x="5040311" y="3829050"/>
            <a:ext cx="438150" cy="371528"/>
          </a:xfrm>
          <a:prstGeom prst="ellipse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6B508296-7375-3F59-1EC9-D490CC62C9E9}"/>
                  </a:ext>
                </a:extLst>
              </p:cNvPr>
              <p:cNvSpPr txBox="1"/>
              <p:nvPr/>
            </p:nvSpPr>
            <p:spPr>
              <a:xfrm>
                <a:off x="5628726" y="3932996"/>
                <a:ext cx="1205458" cy="276999"/>
              </a:xfrm>
              <a:prstGeom prst="rect">
                <a:avLst/>
              </a:prstGeom>
              <a:noFill/>
              <a:ln w="28575">
                <a:solidFill>
                  <a:srgbClr val="FFC000"/>
                </a:solidFill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1.34−1.9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6B508296-7375-3F59-1EC9-D490CC62C9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28726" y="3932996"/>
                <a:ext cx="1205458" cy="276999"/>
              </a:xfrm>
              <a:prstGeom prst="rect">
                <a:avLst/>
              </a:prstGeom>
              <a:blipFill>
                <a:blip r:embed="rId4"/>
                <a:stretch>
                  <a:fillRect l="-2463" r="-2463" b="-1961"/>
                </a:stretch>
              </a:blipFill>
              <a:ln w="28575">
                <a:solidFill>
                  <a:srgbClr val="FFC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D1563F7-532E-9B7B-0F0F-F49E588F7AFE}"/>
                  </a:ext>
                </a:extLst>
              </p:cNvPr>
              <p:cNvSpPr txBox="1"/>
              <p:nvPr/>
            </p:nvSpPr>
            <p:spPr>
              <a:xfrm>
                <a:off x="5628726" y="4393915"/>
                <a:ext cx="5672257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.61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.33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.75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3.64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.3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.45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4D1563F7-532E-9B7B-0F0F-F49E588F7AF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28726" y="4393915"/>
                <a:ext cx="5672257" cy="52046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09D47D8-4D66-1743-6677-21276A412C92}"/>
                  </a:ext>
                </a:extLst>
              </p:cNvPr>
              <p:cNvSpPr txBox="1"/>
              <p:nvPr/>
            </p:nvSpPr>
            <p:spPr>
              <a:xfrm>
                <a:off x="5478461" y="4999021"/>
                <a:ext cx="6096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8.1243‰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809D47D8-4D66-1743-6677-21276A412C9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78461" y="4999021"/>
                <a:ext cx="6096000" cy="369332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5A946B0-6DC3-AA6E-0786-964E50FE0965}"/>
                  </a:ext>
                </a:extLst>
              </p:cNvPr>
              <p:cNvSpPr txBox="1"/>
              <p:nvPr/>
            </p:nvSpPr>
            <p:spPr>
              <a:xfrm>
                <a:off x="5528177" y="5595351"/>
                <a:ext cx="6096000" cy="40197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𝑡𝑑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8.1243</m:t>
                          </m:r>
                        </m:e>
                      </m:ra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=3.12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05A946B0-6DC3-AA6E-0786-964E50FE096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28177" y="5595351"/>
                <a:ext cx="6096000" cy="40197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54965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3" grpId="0"/>
      <p:bldP spid="22" grpId="0" animBg="1"/>
      <p:bldP spid="23" grpId="0" animBg="1"/>
      <p:bldP spid="24" grpId="0"/>
      <p:bldP spid="26" grpId="0"/>
      <p:bldP spid="2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14BEBB-BF96-FC06-BC16-3B1B5F32A9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B6EB21-99F1-0885-DF07-D4A66503C6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3941F8-3ADA-699A-9B73-51C1D6F8AA4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ultiple Choice 5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AD6FA8-5B42-A685-7CC6-D76C4EEE6BD9}"/>
              </a:ext>
            </a:extLst>
          </p:cNvPr>
          <p:cNvSpPr txBox="1"/>
          <p:nvPr/>
        </p:nvSpPr>
        <p:spPr>
          <a:xfrm>
            <a:off x="561973" y="1703549"/>
            <a:ext cx="110490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t"/>
            <a:r>
              <a:rPr lang="en-US" sz="1800" u="none" strike="noStrike" dirty="0">
                <a:effectLst/>
              </a:rPr>
              <a:t>Select the correct statement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684158D-D06E-77A6-2284-F65AEC648F64}"/>
              </a:ext>
            </a:extLst>
          </p:cNvPr>
          <p:cNvSpPr txBox="1"/>
          <p:nvPr/>
        </p:nvSpPr>
        <p:spPr>
          <a:xfrm>
            <a:off x="561974" y="2451930"/>
            <a:ext cx="6096000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US" sz="1800" u="none" strike="noStrike" dirty="0">
                <a:effectLst/>
              </a:rPr>
              <a:t>a) Diversification implies that the beta of a portfolio of two securities with beta 1.2 is lower than 1.2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b) The slope of the security market line is the risk premium</a:t>
            </a:r>
          </a:p>
          <a:p>
            <a:pPr fontAlgn="t"/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fontAlgn="t"/>
            <a:r>
              <a:rPr lang="en-US" dirty="0">
                <a:solidFill>
                  <a:srgbClr val="000000"/>
                </a:solidFill>
                <a:latin typeface="Aptos Narrow" panose="020B0004020202020204" pitchFamily="34" charset="0"/>
              </a:rPr>
              <a:t>c) </a:t>
            </a:r>
            <a:r>
              <a:rPr lang="en-US" dirty="0"/>
              <a:t>The tangency portfolio lies outside the efficient frontier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d</a:t>
            </a:r>
            <a:r>
              <a:rPr lang="en-US" sz="1800" u="none" strike="noStrike">
                <a:effectLst/>
              </a:rPr>
              <a:t>) According to the CAPM, an asset with a beta equal to 0 has an expected return equal to 0. 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9D772C-E02E-A502-358F-C7878D80E3CF}"/>
              </a:ext>
            </a:extLst>
          </p:cNvPr>
          <p:cNvSpPr txBox="1"/>
          <p:nvPr/>
        </p:nvSpPr>
        <p:spPr>
          <a:xfrm>
            <a:off x="8086724" y="2537655"/>
            <a:ext cx="29017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The beta of the portfolio is 1.2</a:t>
            </a:r>
          </a:p>
        </p:txBody>
      </p:sp>
      <p:sp>
        <p:nvSpPr>
          <p:cNvPr id="5" name="Multiplication Sign 4">
            <a:extLst>
              <a:ext uri="{FF2B5EF4-FFF2-40B4-BE49-F238E27FC236}">
                <a16:creationId xmlns:a16="http://schemas.microsoft.com/office/drawing/2014/main" id="{0B3881E3-5F2B-C3A5-7BD5-E60272E8EED3}"/>
              </a:ext>
            </a:extLst>
          </p:cNvPr>
          <p:cNvSpPr/>
          <p:nvPr/>
        </p:nvSpPr>
        <p:spPr bwMode="auto">
          <a:xfrm>
            <a:off x="7232412" y="2537655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043D46C-70CC-C8FD-3FF6-B4DB9F08FF38}"/>
              </a:ext>
            </a:extLst>
          </p:cNvPr>
          <p:cNvSpPr txBox="1"/>
          <p:nvPr/>
        </p:nvSpPr>
        <p:spPr>
          <a:xfrm>
            <a:off x="8086724" y="4118805"/>
            <a:ext cx="28307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It lies ON the efficient frontier</a:t>
            </a:r>
          </a:p>
        </p:txBody>
      </p:sp>
      <p:sp>
        <p:nvSpPr>
          <p:cNvPr id="7" name="Multiplication Sign 6">
            <a:extLst>
              <a:ext uri="{FF2B5EF4-FFF2-40B4-BE49-F238E27FC236}">
                <a16:creationId xmlns:a16="http://schemas.microsoft.com/office/drawing/2014/main" id="{56099A8F-5BDE-9F89-46BF-AA0DF5346404}"/>
              </a:ext>
            </a:extLst>
          </p:cNvPr>
          <p:cNvSpPr/>
          <p:nvPr/>
        </p:nvSpPr>
        <p:spPr bwMode="auto">
          <a:xfrm>
            <a:off x="7232412" y="4118805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8B5E28-107D-22FB-3E68-FBA603617FA9}"/>
              </a:ext>
            </a:extLst>
          </p:cNvPr>
          <p:cNvSpPr txBox="1"/>
          <p:nvPr/>
        </p:nvSpPr>
        <p:spPr>
          <a:xfrm>
            <a:off x="8086724" y="4815897"/>
            <a:ext cx="242406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No, it is the risk-free rate</a:t>
            </a:r>
          </a:p>
        </p:txBody>
      </p:sp>
      <p:sp>
        <p:nvSpPr>
          <p:cNvPr id="9" name="Multiplication Sign 8">
            <a:extLst>
              <a:ext uri="{FF2B5EF4-FFF2-40B4-BE49-F238E27FC236}">
                <a16:creationId xmlns:a16="http://schemas.microsoft.com/office/drawing/2014/main" id="{F63D4275-3B7E-E10A-86BF-2737644AEAC8}"/>
              </a:ext>
            </a:extLst>
          </p:cNvPr>
          <p:cNvSpPr/>
          <p:nvPr/>
        </p:nvSpPr>
        <p:spPr bwMode="auto">
          <a:xfrm>
            <a:off x="7232412" y="4815897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0915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/>
      <p:bldP spid="7" grpId="0" animBg="1"/>
      <p:bldP spid="8" grpId="0"/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B37ECAE-F64D-C1D9-7FF2-11107F953A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EA1837-D22C-000B-615B-2B912341704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3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789EB60-963C-FDA9-53B2-B30AD449EAD8}"/>
              </a:ext>
            </a:extLst>
          </p:cNvPr>
          <p:cNvSpPr txBox="1"/>
          <p:nvPr/>
        </p:nvSpPr>
        <p:spPr>
          <a:xfrm>
            <a:off x="466725" y="1599337"/>
            <a:ext cx="102965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sider the economy has only two stocks: Firm G and Firm H. Firm G has an expected excess return of 3.22%, and Firm H has an expected excess return of 5.71%. Firm G has a beta of 0.644, a market capitalization of 100, and a standard deviation of  40%. Firm H's standard deviation is 56%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CB4F8BF-5DE3-5742-5C96-27F333F79DDB}"/>
              </a:ext>
            </a:extLst>
          </p:cNvPr>
          <p:cNvSpPr txBox="1"/>
          <p:nvPr/>
        </p:nvSpPr>
        <p:spPr>
          <a:xfrm>
            <a:off x="466725" y="2877235"/>
            <a:ext cx="78581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A) What is the market risk premium (=expected excess return of the market)?</a:t>
            </a:r>
            <a:r>
              <a:rPr lang="en-US" dirty="0"/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972D878-9F48-E2CD-F38B-2619B444B510}"/>
                  </a:ext>
                </a:extLst>
              </p:cNvPr>
              <p:cNvSpPr txBox="1"/>
              <p:nvPr/>
            </p:nvSpPr>
            <p:spPr>
              <a:xfrm>
                <a:off x="3780097" y="3686481"/>
                <a:ext cx="3626570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𝑖𝑟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𝐺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𝐴𝑃𝑀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:3.22=0.644⋅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𝑅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972D878-9F48-E2CD-F38B-2619B444B5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80097" y="3686481"/>
                <a:ext cx="3626570" cy="276999"/>
              </a:xfrm>
              <a:prstGeom prst="rect">
                <a:avLst/>
              </a:prstGeom>
              <a:blipFill>
                <a:blip r:embed="rId2"/>
                <a:stretch>
                  <a:fillRect l="-1008" b="-1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715F790-7046-5424-C326-B2336D8BE485}"/>
                  </a:ext>
                </a:extLst>
              </p:cNvPr>
              <p:cNvSpPr txBox="1"/>
              <p:nvPr/>
            </p:nvSpPr>
            <p:spPr>
              <a:xfrm>
                <a:off x="7402252" y="3532284"/>
                <a:ext cx="1740092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𝑅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322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644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5715F790-7046-5424-C326-B2336D8BE48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02252" y="3532284"/>
                <a:ext cx="1740092" cy="5203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>
            <a:extLst>
              <a:ext uri="{FF2B5EF4-FFF2-40B4-BE49-F238E27FC236}">
                <a16:creationId xmlns:a16="http://schemas.microsoft.com/office/drawing/2014/main" id="{570AF826-8682-0CFD-C30A-52C34DCD7621}"/>
              </a:ext>
            </a:extLst>
          </p:cNvPr>
          <p:cNvSpPr txBox="1"/>
          <p:nvPr/>
        </p:nvSpPr>
        <p:spPr>
          <a:xfrm>
            <a:off x="466725" y="433840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B) The beta of Firm H is</a:t>
            </a:r>
            <a:r>
              <a:rPr lang="en-US" dirty="0"/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84D6723-BDA4-FAC9-C47C-E6E057E3FB2C}"/>
                  </a:ext>
                </a:extLst>
              </p:cNvPr>
              <p:cNvSpPr txBox="1"/>
              <p:nvPr/>
            </p:nvSpPr>
            <p:spPr>
              <a:xfrm>
                <a:off x="3780097" y="4743302"/>
                <a:ext cx="442896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𝑖𝑟𝑚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𝐻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 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𝐴𝑃𝑀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:5.71=5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.14  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84D6723-BDA4-FAC9-C47C-E6E057E3FB2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80097" y="4743302"/>
                <a:ext cx="4428968" cy="276999"/>
              </a:xfrm>
              <a:prstGeom prst="rect">
                <a:avLst/>
              </a:prstGeom>
              <a:blipFill>
                <a:blip r:embed="rId4"/>
                <a:stretch>
                  <a:fillRect b="-3478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0471447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4" grpId="0"/>
      <p:bldP spid="16" grpId="0"/>
      <p:bldP spid="1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B78AAA-CE2A-A355-F3BB-7566A72A44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284C417-E698-8A08-0097-B2A2FBC5D1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FA386A-1E3F-79D4-300A-6002FCD2DA7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3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6EE0F949-DECB-2B1E-A7B4-3771D33414DE}"/>
                  </a:ext>
                </a:extLst>
              </p:cNvPr>
              <p:cNvSpPr txBox="1"/>
              <p:nvPr/>
            </p:nvSpPr>
            <p:spPr>
              <a:xfrm>
                <a:off x="4353114" y="3433093"/>
                <a:ext cx="290951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3.22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5.71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𝑤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6EE0F949-DECB-2B1E-A7B4-3771D33414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53114" y="3433093"/>
                <a:ext cx="2909514" cy="276999"/>
              </a:xfrm>
              <a:prstGeom prst="rect">
                <a:avLst/>
              </a:prstGeom>
              <a:blipFill>
                <a:blip r:embed="rId2"/>
                <a:stretch>
                  <a:fillRect l="-419" r="-629" b="-1739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2D35ADD-EFBF-FA67-31BD-8623AE762C31}"/>
                  </a:ext>
                </a:extLst>
              </p:cNvPr>
              <p:cNvSpPr txBox="1"/>
              <p:nvPr/>
            </p:nvSpPr>
            <p:spPr>
              <a:xfrm>
                <a:off x="336000" y="3968949"/>
                <a:ext cx="2993358" cy="65800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𝑤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𝑀𝑐𝑎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𝑀𝑐𝑎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𝑀𝑐𝑎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2D35ADD-EFBF-FA67-31BD-8623AE762C3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000" y="3968949"/>
                <a:ext cx="2993358" cy="65800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9439797E-7706-98BD-1FA7-A3483F3A4D9E}"/>
              </a:ext>
            </a:extLst>
          </p:cNvPr>
          <p:cNvSpPr txBox="1"/>
          <p:nvPr/>
        </p:nvSpPr>
        <p:spPr>
          <a:xfrm>
            <a:off x="466725" y="2862464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C) What is the market capitalization of Firm H?</a:t>
            </a:r>
            <a:r>
              <a:rPr lang="en-US" dirty="0"/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1D37836-4B39-771D-8742-DFED46F441F0}"/>
              </a:ext>
            </a:extLst>
          </p:cNvPr>
          <p:cNvSpPr txBox="1"/>
          <p:nvPr/>
        </p:nvSpPr>
        <p:spPr>
          <a:xfrm>
            <a:off x="466725" y="1599337"/>
            <a:ext cx="102965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sider the economy has only two stocks: Firm G and Firm H. Firm G has an expected excess return of 3.22%, and Firm H has an expected excess return of 5.71%. Firm G has a beta of 0.64, a market capitalization of 100, and a standard deviation of  40%. Firm H's standard deviation is 56%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C6E987-A700-C593-9A86-2FB65C0C3342}"/>
                  </a:ext>
                </a:extLst>
              </p:cNvPr>
              <p:cNvSpPr txBox="1"/>
              <p:nvPr/>
            </p:nvSpPr>
            <p:spPr>
              <a:xfrm>
                <a:off x="3935627" y="4196834"/>
                <a:ext cx="492198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3.22 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𝑐𝑎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5.71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𝑐𝑎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5(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𝑐𝑎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𝑐𝑎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FC6E987-A700-C593-9A86-2FB65C0C334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935627" y="4196834"/>
                <a:ext cx="4921988" cy="276999"/>
              </a:xfrm>
              <a:prstGeom prst="rect">
                <a:avLst/>
              </a:prstGeom>
              <a:blipFill>
                <a:blip r:embed="rId4"/>
                <a:stretch>
                  <a:fillRect l="-620" r="-1239" b="-3478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6D345FE-9C36-2223-039C-DDDC4331B634}"/>
                  </a:ext>
                </a:extLst>
              </p:cNvPr>
              <p:cNvSpPr txBox="1"/>
              <p:nvPr/>
            </p:nvSpPr>
            <p:spPr>
              <a:xfrm>
                <a:off x="2175584" y="4949507"/>
                <a:ext cx="6096000" cy="61831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𝑐𝑎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00−322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7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≈25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6D345FE-9C36-2223-039C-DDDC4331B63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75584" y="4949507"/>
                <a:ext cx="6096000" cy="61831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323561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3" grpId="0"/>
      <p:bldP spid="5" grpId="0"/>
      <p:bldP spid="10" grpId="0"/>
      <p:bldP spid="1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459995-2ACF-42F6-DB93-4C4DB6D90E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667285-7C7E-A7B9-2C78-F30FC195289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456BB0-6DB2-A482-717B-A81CDA7AC34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D2606A9-9480-7818-5468-6D6BAEA5FB35}"/>
              </a:ext>
            </a:extLst>
          </p:cNvPr>
          <p:cNvSpPr txBox="1"/>
          <p:nvPr/>
        </p:nvSpPr>
        <p:spPr>
          <a:xfrm>
            <a:off x="466725" y="1599337"/>
            <a:ext cx="102965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sider the economy has only two stocks: Firm G and Firm H. Firm G has an expected excess return of 3.22%, and Firm H has an expected excess return of 5.71%. Firm G has a beta of 0.64, a market capitalization of 100, and a standard deviation of  40%. Firm H's standard deviation is 56%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001E37-C967-0407-F695-230DDEE08561}"/>
              </a:ext>
            </a:extLst>
          </p:cNvPr>
          <p:cNvSpPr txBox="1"/>
          <p:nvPr/>
        </p:nvSpPr>
        <p:spPr>
          <a:xfrm>
            <a:off x="466725" y="3059668"/>
            <a:ext cx="101441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D) What would be the expected excess return of Firm G if the excess return of the market doubles?</a:t>
            </a:r>
            <a:r>
              <a:rPr lang="en-US" dirty="0"/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FE9F4B9-2871-56BC-8B92-7C5FDFF940FF}"/>
                  </a:ext>
                </a:extLst>
              </p:cNvPr>
              <p:cNvSpPr txBox="1"/>
              <p:nvPr/>
            </p:nvSpPr>
            <p:spPr>
              <a:xfrm>
                <a:off x="4651717" y="3806502"/>
                <a:ext cx="2530629" cy="318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𝑓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𝛽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FE9F4B9-2871-56BC-8B92-7C5FDFF940F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51717" y="3806502"/>
                <a:ext cx="2530629" cy="318998"/>
              </a:xfrm>
              <a:prstGeom prst="rect">
                <a:avLst/>
              </a:prstGeom>
              <a:blipFill>
                <a:blip r:embed="rId2"/>
                <a:stretch>
                  <a:fillRect l="-1446" r="-2892" b="-2452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>
            <a:extLst>
              <a:ext uri="{FF2B5EF4-FFF2-40B4-BE49-F238E27FC236}">
                <a16:creationId xmlns:a16="http://schemas.microsoft.com/office/drawing/2014/main" id="{9BFD61B5-E3A5-2E9A-F162-4ACBF4D3671F}"/>
              </a:ext>
            </a:extLst>
          </p:cNvPr>
          <p:cNvSpPr txBox="1"/>
          <p:nvPr/>
        </p:nvSpPr>
        <p:spPr>
          <a:xfrm>
            <a:off x="1496590" y="4503002"/>
            <a:ext cx="8840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f the excess return of the market doubles the expected return of every stock double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DAFA36C-4E35-1FD8-848A-45545D277E30}"/>
                  </a:ext>
                </a:extLst>
              </p:cNvPr>
              <p:cNvSpPr txBox="1"/>
              <p:nvPr/>
            </p:nvSpPr>
            <p:spPr>
              <a:xfrm>
                <a:off x="5187729" y="5258663"/>
                <a:ext cx="70211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6.44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4DAFA36C-4E35-1FD8-848A-45545D277E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87729" y="5258663"/>
                <a:ext cx="702115" cy="276999"/>
              </a:xfrm>
              <a:prstGeom prst="rect">
                <a:avLst/>
              </a:prstGeom>
              <a:blipFill>
                <a:blip r:embed="rId3"/>
                <a:stretch>
                  <a:fillRect l="-6087" r="-8696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254878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4" grpId="0"/>
      <p:bldP spid="6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E13144-E64B-B8CC-772E-3C7F57F8AE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F505D29-0BBB-E4A1-EB02-035396E68CB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8C3288-321D-41D0-75B3-D700E8ECDC4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D445AD7-6F3D-F922-D0E3-B7B8E3F5C57D}"/>
              </a:ext>
            </a:extLst>
          </p:cNvPr>
          <p:cNvSpPr txBox="1"/>
          <p:nvPr/>
        </p:nvSpPr>
        <p:spPr>
          <a:xfrm>
            <a:off x="466725" y="1599337"/>
            <a:ext cx="10296525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sider the economy has only two stocks: Firm G and Firm H. Firm G has an expected excess return of 3.22%, and Firm H has an expected excess return of 5.71%. Firm G has a beta of 0.64, a market capitalization of 100, and a standard deviation of  40%. Firm H's standard deviation is 56%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3C27FC-EE8D-3217-E8BA-AE73BD01A2B5}"/>
              </a:ext>
            </a:extLst>
          </p:cNvPr>
          <p:cNvSpPr txBox="1"/>
          <p:nvPr/>
        </p:nvSpPr>
        <p:spPr>
          <a:xfrm>
            <a:off x="466725" y="2939534"/>
            <a:ext cx="858202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E) What is the standard deviation of the market?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8F377F9-BDBE-8FEA-2081-04A9C19DF138}"/>
                  </a:ext>
                </a:extLst>
              </p:cNvPr>
              <p:cNvSpPr txBox="1"/>
              <p:nvPr/>
            </p:nvSpPr>
            <p:spPr>
              <a:xfrm>
                <a:off x="1019175" y="3725733"/>
                <a:ext cx="5180521" cy="6223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𝐺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𝑜𝑣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𝐺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d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𝐺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𝑐𝑜𝑣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7</m:t>
                              </m:r>
                            </m:den>
                          </m:f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7</m:t>
                              </m:r>
                            </m:den>
                          </m:f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18F377F9-BDBE-8FEA-2081-04A9C19DF13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19175" y="3725733"/>
                <a:ext cx="5180521" cy="62235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Rectangle 9">
            <a:extLst>
              <a:ext uri="{FF2B5EF4-FFF2-40B4-BE49-F238E27FC236}">
                <a16:creationId xmlns:a16="http://schemas.microsoft.com/office/drawing/2014/main" id="{2EA516D9-B94E-85E8-E3D6-4AE0266FB377}"/>
              </a:ext>
            </a:extLst>
          </p:cNvPr>
          <p:cNvSpPr/>
          <p:nvPr/>
        </p:nvSpPr>
        <p:spPr bwMode="auto">
          <a:xfrm>
            <a:off x="4919661" y="3600450"/>
            <a:ext cx="238125" cy="819150"/>
          </a:xfrm>
          <a:prstGeom prst="rect">
            <a:avLst/>
          </a:prstGeom>
          <a:noFill/>
          <a:ln w="28575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0D2DB5D-1BD1-DB1D-D8B7-61F2B3392DF4}"/>
                  </a:ext>
                </a:extLst>
              </p:cNvPr>
              <p:cNvSpPr txBox="1"/>
              <p:nvPr/>
            </p:nvSpPr>
            <p:spPr>
              <a:xfrm>
                <a:off x="4636474" y="3206125"/>
                <a:ext cx="94737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100/35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0D2DB5D-1BD1-DB1D-D8B7-61F2B3392DF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36474" y="3206125"/>
                <a:ext cx="947375" cy="276999"/>
              </a:xfrm>
              <a:prstGeom prst="rect">
                <a:avLst/>
              </a:prstGeom>
              <a:blipFill>
                <a:blip r:embed="rId3"/>
                <a:stretch>
                  <a:fillRect l="-5161" r="-5806" b="-3777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F026D7B2-729B-A747-AFAB-A5133B33579E}"/>
                  </a:ext>
                </a:extLst>
              </p:cNvPr>
              <p:cNvSpPr txBox="1"/>
              <p:nvPr/>
            </p:nvSpPr>
            <p:spPr>
              <a:xfrm>
                <a:off x="6281737" y="3747517"/>
                <a:ext cx="2538708" cy="5250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</m:e>
                      </m:d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5</m:t>
                          </m:r>
                        </m:num>
                        <m:den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7</m:t>
                          </m:r>
                        </m:den>
                      </m:f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cov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G</m:t>
                          </m:r>
                        </m:sub>
                      </m:sSub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F026D7B2-729B-A747-AFAB-A5133B33579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1737" y="3747517"/>
                <a:ext cx="2538708" cy="52501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0ECD230-CAE0-56F6-08F0-BCEC723B304B}"/>
                  </a:ext>
                </a:extLst>
              </p:cNvPr>
              <p:cNvSpPr txBox="1"/>
              <p:nvPr/>
            </p:nvSpPr>
            <p:spPr>
              <a:xfrm>
                <a:off x="915479" y="4658389"/>
                <a:ext cx="5334666" cy="6223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𝑜𝑣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𝐻</m:t>
                                  </m:r>
                                </m:sub>
                              </m:s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,</m:t>
                              </m:r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e>
                          </m:d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𝛽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𝐻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𝑐𝑜𝑣</m:t>
                      </m:r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,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7</m:t>
                              </m:r>
                            </m:den>
                          </m:f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7</m:t>
                              </m:r>
                            </m:den>
                          </m:f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0ECD230-CAE0-56F6-08F0-BCEC723B30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5479" y="4658389"/>
                <a:ext cx="5334666" cy="622350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B5DBDAD-A474-5029-C7FE-775FCFC04FA3}"/>
                  </a:ext>
                </a:extLst>
              </p:cNvPr>
              <p:cNvSpPr txBox="1"/>
              <p:nvPr/>
            </p:nvSpPr>
            <p:spPr>
              <a:xfrm>
                <a:off x="6281737" y="4648864"/>
                <a:ext cx="2551852" cy="525016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</m:e>
                      </m:d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r>
                            <a:rPr lang="en-US" b="0" i="0" smtClean="0">
                              <a:latin typeface="Cambria Math" panose="02040503050406030204" pitchFamily="18" charset="0"/>
                            </a:rPr>
                            <m:t>7</m:t>
                          </m:r>
                        </m:den>
                      </m:f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cov</m:t>
                      </m:r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G</m:t>
                          </m:r>
                        </m:sub>
                      </m:sSub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,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r</m:t>
                          </m:r>
                        </m:e>
                        <m:sub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H</m:t>
                          </m:r>
                        </m:sub>
                      </m:sSub>
                      <m:r>
                        <a:rPr lang="en-US" b="0" i="0" smtClean="0"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AB5DBDAD-A474-5029-C7FE-775FCFC04FA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281737" y="4648864"/>
                <a:ext cx="2551852" cy="52501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2A7D8C3-3AFE-0C50-0008-BA9CB956380D}"/>
                  </a:ext>
                </a:extLst>
              </p:cNvPr>
              <p:cNvSpPr txBox="1"/>
              <p:nvPr/>
            </p:nvSpPr>
            <p:spPr>
              <a:xfrm>
                <a:off x="4584086" y="5591045"/>
                <a:ext cx="4072269" cy="6223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4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62A7D8C3-3AFE-0C50-0008-BA9CB95638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584086" y="5591045"/>
                <a:ext cx="4072269" cy="622350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CD03BB9-A5D4-2ABD-A716-6DFC50F2AEF5}"/>
                  </a:ext>
                </a:extLst>
              </p:cNvPr>
              <p:cNvSpPr txBox="1"/>
              <p:nvPr/>
            </p:nvSpPr>
            <p:spPr>
              <a:xfrm>
                <a:off x="8481307" y="5386822"/>
                <a:ext cx="3073277" cy="93346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(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)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7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𝐺</m:t>
                                  </m:r>
                                </m:sub>
                              </m:sSub>
                            </m:e>
                          </m:d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5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4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  <m:d>
                            <m:d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𝐻</m:t>
                                  </m:r>
                                </m:sub>
                              </m:sSub>
                            </m:e>
                          </m:d>
                        </m:num>
                        <m:den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(</m:t>
                              </m:r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𝐺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−</m:t>
                          </m:r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num>
                            <m:den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den>
                          </m:f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𝛽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𝐻</m:t>
                              </m:r>
                            </m:sub>
                          </m:s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)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CD03BB9-A5D4-2ABD-A716-6DFC50F2AEF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481307" y="5386822"/>
                <a:ext cx="3073277" cy="933461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FC9A0526-B429-7420-D3A7-ED42F31F2F8B}"/>
                  </a:ext>
                </a:extLst>
              </p:cNvPr>
              <p:cNvSpPr txBox="1"/>
              <p:nvPr/>
            </p:nvSpPr>
            <p:spPr>
              <a:xfrm>
                <a:off x="7940034" y="2759587"/>
                <a:ext cx="3470915" cy="401970"/>
              </a:xfrm>
              <a:prstGeom prst="rect">
                <a:avLst/>
              </a:prstGeom>
              <a:noFill/>
              <a:ln w="28575">
                <a:solidFill>
                  <a:srgbClr val="0070C0"/>
                </a:solidFill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𝑡𝑑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𝑚</m:t>
                              </m:r>
                            </m:sub>
                          </m:sSub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.2331</m:t>
                          </m:r>
                        </m:e>
                      </m:ra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48.28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FC9A0526-B429-7420-D3A7-ED42F31F2F8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40034" y="2759587"/>
                <a:ext cx="3470915" cy="401970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  <a:ln w="28575">
                <a:solidFill>
                  <a:srgbClr val="0070C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17095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 animBg="1"/>
      <p:bldP spid="11" grpId="0"/>
      <p:bldP spid="12" grpId="0"/>
      <p:bldP spid="13" grpId="0"/>
      <p:bldP spid="14" grpId="0"/>
      <p:bldP spid="15" grpId="0"/>
      <p:bldP spid="16" grpId="0"/>
      <p:bldP spid="18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5B0F15-C8EC-9BAD-AB0C-608D4A0EF99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81691F-1CEA-7B15-4699-0D9E63B2559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ultiple Choice 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3913978-5404-C3DF-BDEB-5AC03363F610}"/>
              </a:ext>
            </a:extLst>
          </p:cNvPr>
          <p:cNvSpPr txBox="1"/>
          <p:nvPr/>
        </p:nvSpPr>
        <p:spPr>
          <a:xfrm>
            <a:off x="7605192" y="3384599"/>
            <a:ext cx="39084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Pays the same as a, but takes more tim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82014B2-DF6F-FF1D-B14A-6E0FB8087EF6}"/>
              </a:ext>
            </a:extLst>
          </p:cNvPr>
          <p:cNvSpPr txBox="1"/>
          <p:nvPr/>
        </p:nvSpPr>
        <p:spPr>
          <a:xfrm>
            <a:off x="7605192" y="4040907"/>
            <a:ext cx="36215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Pays the same as a, but all at the end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EF6956C-4530-999A-BC93-DEE1B93738EB}"/>
                  </a:ext>
                </a:extLst>
              </p:cNvPr>
              <p:cNvSpPr txBox="1"/>
              <p:nvPr/>
            </p:nvSpPr>
            <p:spPr>
              <a:xfrm>
                <a:off x="7480339" y="5034871"/>
                <a:ext cx="3312445" cy="80118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i="1" dirty="0">
                    <a:solidFill>
                      <a:srgbClr val="FF0000"/>
                    </a:solidFill>
                    <a:latin typeface="Cambria Math" panose="02040503050406030204" pitchFamily="18" charset="0"/>
                  </a:rPr>
                  <a:t>The difference in NPV A-D is</a:t>
                </a:r>
                <a:endParaRPr lang="en-US" sz="1600" b="0" i="1" dirty="0">
                  <a:solidFill>
                    <a:srgbClr val="FF0000"/>
                  </a:solidFill>
                  <a:latin typeface="Cambria Math" panose="02040503050406030204" pitchFamily="18" charset="0"/>
                </a:endParaRPr>
              </a:p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40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.05</m:t>
                          </m:r>
                        </m:den>
                      </m:f>
                      <m:r>
                        <a:rPr lang="en-US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40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1.05</m:t>
                              </m:r>
                            </m:e>
                            <m:sup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sz="1600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240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sz="1600" i="1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1.05</m:t>
                              </m:r>
                            </m:e>
                            <m:sup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den>
                      </m:f>
                      <m:r>
                        <a:rPr lang="en-US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−500=208</m:t>
                      </m:r>
                    </m:oMath>
                  </m:oMathPara>
                </a14:m>
                <a:endParaRPr lang="en-US" sz="1600" dirty="0">
                  <a:solidFill>
                    <a:srgbClr val="FF0000"/>
                  </a:solidFill>
                </a:endParaRPr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7EF6956C-4530-999A-BC93-DEE1B93738E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80339" y="5034871"/>
                <a:ext cx="3312445" cy="801181"/>
              </a:xfrm>
              <a:prstGeom prst="rect">
                <a:avLst/>
              </a:prstGeom>
              <a:blipFill>
                <a:blip r:embed="rId2"/>
                <a:stretch>
                  <a:fillRect l="-921" t="-305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Multiplication Sign 11">
            <a:extLst>
              <a:ext uri="{FF2B5EF4-FFF2-40B4-BE49-F238E27FC236}">
                <a16:creationId xmlns:a16="http://schemas.microsoft.com/office/drawing/2014/main" id="{25857725-A6AF-E424-B557-832C1496CD52}"/>
              </a:ext>
            </a:extLst>
          </p:cNvPr>
          <p:cNvSpPr/>
          <p:nvPr/>
        </p:nvSpPr>
        <p:spPr bwMode="auto">
          <a:xfrm>
            <a:off x="6756457" y="3365549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3" name="Multiplication Sign 12">
            <a:extLst>
              <a:ext uri="{FF2B5EF4-FFF2-40B4-BE49-F238E27FC236}">
                <a16:creationId xmlns:a16="http://schemas.microsoft.com/office/drawing/2014/main" id="{E2BB4207-928B-9010-03D4-CA45A98D9D16}"/>
              </a:ext>
            </a:extLst>
          </p:cNvPr>
          <p:cNvSpPr/>
          <p:nvPr/>
        </p:nvSpPr>
        <p:spPr bwMode="auto">
          <a:xfrm>
            <a:off x="6779975" y="4129312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4" name="Multiplication Sign 13">
            <a:extLst>
              <a:ext uri="{FF2B5EF4-FFF2-40B4-BE49-F238E27FC236}">
                <a16:creationId xmlns:a16="http://schemas.microsoft.com/office/drawing/2014/main" id="{4C8C4EF5-EAA5-E0D0-6650-55E5A9722D8C}"/>
              </a:ext>
            </a:extLst>
          </p:cNvPr>
          <p:cNvSpPr/>
          <p:nvPr/>
        </p:nvSpPr>
        <p:spPr bwMode="auto">
          <a:xfrm>
            <a:off x="6779974" y="5084807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2AD3DA-59E9-724C-789F-400286C07456}"/>
              </a:ext>
            </a:extLst>
          </p:cNvPr>
          <p:cNvSpPr txBox="1"/>
          <p:nvPr/>
        </p:nvSpPr>
        <p:spPr>
          <a:xfrm>
            <a:off x="561974" y="1703549"/>
            <a:ext cx="99744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t"/>
            <a:r>
              <a:rPr lang="en-US" sz="1800" u="none" strike="noStrike" dirty="0">
                <a:effectLst/>
              </a:rPr>
              <a:t>Which of the following projects would you choose? Assume the discount rate is 5%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BA853AC-40D6-F03A-95DD-3640AFC50DD3}"/>
              </a:ext>
            </a:extLst>
          </p:cNvPr>
          <p:cNvSpPr txBox="1"/>
          <p:nvPr/>
        </p:nvSpPr>
        <p:spPr>
          <a:xfrm>
            <a:off x="561974" y="2451930"/>
            <a:ext cx="6096000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US" sz="1800" u="none" strike="noStrike" dirty="0">
                <a:effectLst/>
              </a:rPr>
              <a:t>a) A project that pays 500 in the next 3 years and requires an investment of 1000 today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b) A project that pays 250 in the next 6 years and requires an investment of 1000 today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algn="l" fontAlgn="t"/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fontAlgn="t"/>
            <a:r>
              <a:rPr lang="en-US" dirty="0">
                <a:solidFill>
                  <a:srgbClr val="000000"/>
                </a:solidFill>
                <a:latin typeface="Aptos Narrow" panose="020B0004020202020204" pitchFamily="34" charset="0"/>
              </a:rPr>
              <a:t>c) </a:t>
            </a:r>
            <a:r>
              <a:rPr lang="en-US" sz="1800" u="none" strike="noStrike" dirty="0">
                <a:effectLst/>
              </a:rPr>
              <a:t>A project that pays 1500 in 3 years and requires an investment of 1000 today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d) A project that pays 260 in the next 3 years and requires an investment of 500 today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fontAlgn="t"/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algn="l" fontAlgn="t"/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374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11" grpId="0"/>
      <p:bldP spid="12" grpId="0" animBg="1"/>
      <p:bldP spid="13" grpId="0" animBg="1"/>
      <p:bldP spid="14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DA6FFD-90EB-9458-FF17-90D5589947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E550C8-8F00-177D-1E3A-8BE14402E9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590CB3-CEEC-C0AD-79FF-FAD857E03A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ultiple Choice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E53C08C-CF7E-DC83-6FF3-3E455859CF7E}"/>
              </a:ext>
            </a:extLst>
          </p:cNvPr>
          <p:cNvSpPr txBox="1"/>
          <p:nvPr/>
        </p:nvSpPr>
        <p:spPr>
          <a:xfrm>
            <a:off x="7605192" y="2509317"/>
            <a:ext cx="453681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Annual compounding would be equal (100/0.05)</a:t>
            </a:r>
            <a:br>
              <a:rPr lang="en-US" sz="1600" dirty="0">
                <a:solidFill>
                  <a:srgbClr val="FF0000"/>
                </a:solidFill>
              </a:rPr>
            </a:br>
            <a:r>
              <a:rPr lang="en-US" sz="1600" dirty="0">
                <a:solidFill>
                  <a:srgbClr val="FF0000"/>
                </a:solidFill>
              </a:rPr>
              <a:t>Then, semi-annual must be lowe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75CD1F1-0545-968D-5F6C-521742424E3B}"/>
                  </a:ext>
                </a:extLst>
              </p:cNvPr>
              <p:cNvSpPr txBox="1"/>
              <p:nvPr/>
            </p:nvSpPr>
            <p:spPr>
              <a:xfrm>
                <a:off x="7635136" y="3804137"/>
                <a:ext cx="739305" cy="55496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00</m:t>
                          </m:r>
                        </m:num>
                        <m:den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.025</m:t>
                          </m:r>
                        </m:den>
                      </m:f>
                    </m:oMath>
                  </m:oMathPara>
                </a14:m>
                <a:endParaRPr lang="en-US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175CD1F1-0545-968D-5F6C-521742424E3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35136" y="3804137"/>
                <a:ext cx="739305" cy="55496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A3931C2-1EA1-439C-23F8-121A58D2D820}"/>
                  </a:ext>
                </a:extLst>
              </p:cNvPr>
              <p:cNvSpPr txBox="1"/>
              <p:nvPr/>
            </p:nvSpPr>
            <p:spPr>
              <a:xfrm>
                <a:off x="7605192" y="4615843"/>
                <a:ext cx="2224776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200</m:t>
                      </m:r>
                      <m:sSup>
                        <m:sSupPr>
                          <m:ctrlP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ctrlP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1.025</m:t>
                              </m:r>
                            </m:e>
                          </m:d>
                        </m:e>
                        <m:sup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6</m:t>
                          </m:r>
                        </m:sup>
                      </m:sSup>
                      <m:r>
                        <a:rPr lang="en-US" sz="1600" b="0" i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231.94</m:t>
                      </m:r>
                    </m:oMath>
                  </m:oMathPara>
                </a14:m>
                <a:endParaRPr lang="en-US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EA3931C2-1EA1-439C-23F8-121A58D2D8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05192" y="4615843"/>
                <a:ext cx="2224776" cy="338554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Multiplication Sign 11">
            <a:extLst>
              <a:ext uri="{FF2B5EF4-FFF2-40B4-BE49-F238E27FC236}">
                <a16:creationId xmlns:a16="http://schemas.microsoft.com/office/drawing/2014/main" id="{81669DF6-997B-680D-D289-F6127C0E6C29}"/>
              </a:ext>
            </a:extLst>
          </p:cNvPr>
          <p:cNvSpPr/>
          <p:nvPr/>
        </p:nvSpPr>
        <p:spPr bwMode="auto">
          <a:xfrm>
            <a:off x="6851708" y="2563575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3" name="Multiplication Sign 12">
            <a:extLst>
              <a:ext uri="{FF2B5EF4-FFF2-40B4-BE49-F238E27FC236}">
                <a16:creationId xmlns:a16="http://schemas.microsoft.com/office/drawing/2014/main" id="{83034A01-04E1-4D81-8B6E-00373351C923}"/>
              </a:ext>
            </a:extLst>
          </p:cNvPr>
          <p:cNvSpPr/>
          <p:nvPr/>
        </p:nvSpPr>
        <p:spPr bwMode="auto">
          <a:xfrm>
            <a:off x="6851709" y="3346443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4" name="Multiplication Sign 13">
            <a:extLst>
              <a:ext uri="{FF2B5EF4-FFF2-40B4-BE49-F238E27FC236}">
                <a16:creationId xmlns:a16="http://schemas.microsoft.com/office/drawing/2014/main" id="{0C60AE6B-92B7-EB2E-2BCC-1CFA15BEC1DC}"/>
              </a:ext>
            </a:extLst>
          </p:cNvPr>
          <p:cNvSpPr/>
          <p:nvPr/>
        </p:nvSpPr>
        <p:spPr bwMode="auto">
          <a:xfrm>
            <a:off x="6851708" y="4646620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A32B8C-374C-85E7-1696-64C29BE8E590}"/>
              </a:ext>
            </a:extLst>
          </p:cNvPr>
          <p:cNvSpPr txBox="1"/>
          <p:nvPr/>
        </p:nvSpPr>
        <p:spPr>
          <a:xfrm>
            <a:off x="561973" y="1703549"/>
            <a:ext cx="110490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t"/>
            <a:r>
              <a:rPr lang="en-US" sz="1800" u="none" strike="noStrike" dirty="0">
                <a:effectLst/>
              </a:rPr>
              <a:t>Which of the following statements is correct? Assume APR is 5%, and we use semi-annual compounding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63F9BE2-70D1-D488-C29C-AB299876F715}"/>
              </a:ext>
            </a:extLst>
          </p:cNvPr>
          <p:cNvSpPr txBox="1"/>
          <p:nvPr/>
        </p:nvSpPr>
        <p:spPr>
          <a:xfrm>
            <a:off x="561974" y="2451930"/>
            <a:ext cx="609600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US" sz="1800" u="none" strike="noStrike" dirty="0">
                <a:effectLst/>
              </a:rPr>
              <a:t>a) The PV of a project that pays 100 every year from next year is greater than 2000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b) The EAR equals 2.5%</a:t>
            </a:r>
          </a:p>
          <a:p>
            <a:pPr fontAlgn="t"/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fontAlgn="t"/>
            <a:r>
              <a:rPr lang="en-US" dirty="0">
                <a:solidFill>
                  <a:srgbClr val="000000"/>
                </a:solidFill>
                <a:latin typeface="Aptos Narrow" panose="020B0004020202020204" pitchFamily="34" charset="0"/>
              </a:rPr>
              <a:t>c) </a:t>
            </a:r>
            <a:r>
              <a:rPr lang="en-US" dirty="0"/>
              <a:t>The PV of a project that pays 100 every six months, starting in six months, is 4000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d) The future value of cash flow of 200 today in 3 years is 231.52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algn="l" fontAlgn="t"/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8C14696-50D1-0AF9-9E98-4B37975503C6}"/>
              </a:ext>
            </a:extLst>
          </p:cNvPr>
          <p:cNvSpPr txBox="1"/>
          <p:nvPr/>
        </p:nvSpPr>
        <p:spPr>
          <a:xfrm>
            <a:off x="7605192" y="3361251"/>
            <a:ext cx="341471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EAR&gt;APR with semi-annual comp. </a:t>
            </a:r>
          </a:p>
        </p:txBody>
      </p:sp>
    </p:spTree>
    <p:extLst>
      <p:ext uri="{BB962C8B-B14F-4D97-AF65-F5344CB8AC3E}">
        <p14:creationId xmlns:p14="http://schemas.microsoft.com/office/powerpoint/2010/main" val="1397355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11" grpId="0"/>
      <p:bldP spid="12" grpId="0" animBg="1"/>
      <p:bldP spid="13" grpId="0" animBg="1"/>
      <p:bldP spid="14" grpId="0" animBg="1"/>
      <p:bldP spid="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F7E0D4-9000-D199-BEE6-30044713E9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732994-245C-4314-1940-4F3F5994918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7B15CC-4DEF-4EC0-2100-4E8932D166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ultiple Choice 3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5D7C80F-70ED-67B5-2706-D81CCE40BD06}"/>
              </a:ext>
            </a:extLst>
          </p:cNvPr>
          <p:cNvSpPr txBox="1"/>
          <p:nvPr/>
        </p:nvSpPr>
        <p:spPr>
          <a:xfrm>
            <a:off x="561973" y="1703549"/>
            <a:ext cx="1104900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US" dirty="0"/>
              <a:t>Which of the following statements is correct?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F691E1F-7320-BAFC-B130-23C611CF15F2}"/>
              </a:ext>
            </a:extLst>
          </p:cNvPr>
          <p:cNvSpPr txBox="1"/>
          <p:nvPr/>
        </p:nvSpPr>
        <p:spPr>
          <a:xfrm>
            <a:off x="561974" y="2451930"/>
            <a:ext cx="6096000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US" sz="1800" u="none" strike="noStrike" dirty="0">
                <a:effectLst/>
              </a:rPr>
              <a:t>a) </a:t>
            </a:r>
            <a:r>
              <a:rPr lang="en-US" dirty="0"/>
              <a:t>The real yield of a bond is always higher than the nominal yield if inflation is positive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b) </a:t>
            </a:r>
            <a:r>
              <a:rPr lang="en-US" dirty="0"/>
              <a:t>Diversifiable risk can be eliminated by holding many stocks</a:t>
            </a:r>
          </a:p>
          <a:p>
            <a:pPr fontAlgn="t"/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fontAlgn="t"/>
            <a:r>
              <a:rPr lang="en-US" dirty="0">
                <a:solidFill>
                  <a:srgbClr val="000000"/>
                </a:solidFill>
                <a:latin typeface="Aptos Narrow" panose="020B0004020202020204" pitchFamily="34" charset="0"/>
              </a:rPr>
              <a:t>c) </a:t>
            </a:r>
            <a:r>
              <a:rPr lang="en-US" dirty="0"/>
              <a:t>Trading on margin allows investors to reduce the risk. 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d) </a:t>
            </a:r>
            <a:r>
              <a:rPr lang="en-US" dirty="0"/>
              <a:t>A portfolio investing in two assets with the same expected return and standard deviation will have the same expected return and standard deviation as the assets.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86B780-F7E8-13AC-5A66-E8D1901D4FE0}"/>
              </a:ext>
            </a:extLst>
          </p:cNvPr>
          <p:cNvSpPr txBox="1"/>
          <p:nvPr/>
        </p:nvSpPr>
        <p:spPr>
          <a:xfrm>
            <a:off x="7430508" y="2675465"/>
            <a:ext cx="25170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Real yield is always lower</a:t>
            </a:r>
          </a:p>
        </p:txBody>
      </p:sp>
      <p:sp>
        <p:nvSpPr>
          <p:cNvPr id="7" name="Multiplication Sign 6">
            <a:extLst>
              <a:ext uri="{FF2B5EF4-FFF2-40B4-BE49-F238E27FC236}">
                <a16:creationId xmlns:a16="http://schemas.microsoft.com/office/drawing/2014/main" id="{DB3586E4-BAF8-0D4A-091E-83592A06950E}"/>
              </a:ext>
            </a:extLst>
          </p:cNvPr>
          <p:cNvSpPr/>
          <p:nvPr/>
        </p:nvSpPr>
        <p:spPr bwMode="auto">
          <a:xfrm>
            <a:off x="6657974" y="2675465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2EF8E7-D9BF-B5D2-B9EF-46C3648209B4}"/>
              </a:ext>
            </a:extLst>
          </p:cNvPr>
          <p:cNvSpPr txBox="1"/>
          <p:nvPr/>
        </p:nvSpPr>
        <p:spPr>
          <a:xfrm>
            <a:off x="7430508" y="3278049"/>
            <a:ext cx="13003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By definitio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9EC2BC-62AE-0BEC-2FF9-A1EA1BA9D929}"/>
              </a:ext>
            </a:extLst>
          </p:cNvPr>
          <p:cNvSpPr txBox="1"/>
          <p:nvPr/>
        </p:nvSpPr>
        <p:spPr>
          <a:xfrm>
            <a:off x="7472346" y="4113740"/>
            <a:ext cx="31522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Trading on margin increases risk</a:t>
            </a:r>
          </a:p>
        </p:txBody>
      </p:sp>
      <p:sp>
        <p:nvSpPr>
          <p:cNvPr id="15" name="Multiplication Sign 14">
            <a:extLst>
              <a:ext uri="{FF2B5EF4-FFF2-40B4-BE49-F238E27FC236}">
                <a16:creationId xmlns:a16="http://schemas.microsoft.com/office/drawing/2014/main" id="{DBA29EFD-16A6-CF91-D0D0-9E8B2CCCC435}"/>
              </a:ext>
            </a:extLst>
          </p:cNvPr>
          <p:cNvSpPr/>
          <p:nvPr/>
        </p:nvSpPr>
        <p:spPr bwMode="auto">
          <a:xfrm>
            <a:off x="6657974" y="4113740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7" name="Multiplication Sign 16">
            <a:extLst>
              <a:ext uri="{FF2B5EF4-FFF2-40B4-BE49-F238E27FC236}">
                <a16:creationId xmlns:a16="http://schemas.microsoft.com/office/drawing/2014/main" id="{A8DA6C03-4178-B543-87FC-8E27635A24B5}"/>
              </a:ext>
            </a:extLst>
          </p:cNvPr>
          <p:cNvSpPr/>
          <p:nvPr/>
        </p:nvSpPr>
        <p:spPr bwMode="auto">
          <a:xfrm>
            <a:off x="6657974" y="4985174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6B37E41-D63D-913B-5FE9-DCE6CE4E8DED}"/>
              </a:ext>
            </a:extLst>
          </p:cNvPr>
          <p:cNvSpPr txBox="1"/>
          <p:nvPr/>
        </p:nvSpPr>
        <p:spPr>
          <a:xfrm>
            <a:off x="7430509" y="4985174"/>
            <a:ext cx="38089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Due to diversification, the standard deviation will be lower</a:t>
            </a:r>
          </a:p>
        </p:txBody>
      </p:sp>
    </p:spTree>
    <p:extLst>
      <p:ext uri="{BB962C8B-B14F-4D97-AF65-F5344CB8AC3E}">
        <p14:creationId xmlns:p14="http://schemas.microsoft.com/office/powerpoint/2010/main" val="9758566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animBg="1"/>
      <p:bldP spid="8" grpId="0"/>
      <p:bldP spid="10" grpId="0"/>
      <p:bldP spid="15" grpId="0" animBg="1"/>
      <p:bldP spid="17" grpId="0" animBg="1"/>
      <p:bldP spid="1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97C4AE-B2B5-6229-8A1B-DF84C87648C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AF7C96-5018-D3F4-C411-9045233CF0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885AEE4-6177-2C7E-9DF2-9433C832D340}"/>
              </a:ext>
            </a:extLst>
          </p:cNvPr>
          <p:cNvSpPr txBox="1"/>
          <p:nvPr/>
        </p:nvSpPr>
        <p:spPr>
          <a:xfrm>
            <a:off x="414825" y="1504921"/>
            <a:ext cx="1103947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irm A  issued a five-year 5%-coupon  bond with a face value of 100 that currently trades at 95 euros and just paid the third coupon. Firm A also issued a ten-year 10%-coupon callable bond with a face value of 100 that just paid the ninth coupon. A callable bond gives the right to Firm A to buy back the bond at a specified price, in this case, the specified price is 92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F178D1-9AFE-A589-3426-7BD6B446BE4D}"/>
              </a:ext>
            </a:extLst>
          </p:cNvPr>
          <p:cNvSpPr txBox="1"/>
          <p:nvPr/>
        </p:nvSpPr>
        <p:spPr>
          <a:xfrm>
            <a:off x="414825" y="288567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A) What is the yield of the noncallable bond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CD85988-CDE7-CA38-836F-A7781A93B535}"/>
                  </a:ext>
                </a:extLst>
              </p:cNvPr>
              <p:cNvSpPr txBox="1"/>
              <p:nvPr/>
            </p:nvSpPr>
            <p:spPr>
              <a:xfrm>
                <a:off x="4362450" y="3435424"/>
                <a:ext cx="2721835" cy="5732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5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9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DCD85988-CDE7-CA38-836F-A7781A93B53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2450" y="3435424"/>
                <a:ext cx="2721835" cy="573298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5C195F-12EA-0075-0992-D329F53A16DC}"/>
                  </a:ext>
                </a:extLst>
              </p:cNvPr>
              <p:cNvSpPr txBox="1"/>
              <p:nvPr/>
            </p:nvSpPr>
            <p:spPr>
              <a:xfrm>
                <a:off x="6743700" y="3537407"/>
                <a:ext cx="173355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≈7.8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E95C195F-12EA-0075-0992-D329F53A16D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43700" y="3537407"/>
                <a:ext cx="1733550" cy="369332"/>
              </a:xfrm>
              <a:prstGeom prst="rect">
                <a:avLst/>
              </a:prstGeom>
              <a:blipFill>
                <a:blip r:embed="rId3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2" name="TextBox 11">
            <a:extLst>
              <a:ext uri="{FF2B5EF4-FFF2-40B4-BE49-F238E27FC236}">
                <a16:creationId xmlns:a16="http://schemas.microsoft.com/office/drawing/2014/main" id="{266055EF-90D2-6DCC-6AD5-BDFB7CA9973B}"/>
              </a:ext>
            </a:extLst>
          </p:cNvPr>
          <p:cNvSpPr txBox="1"/>
          <p:nvPr/>
        </p:nvSpPr>
        <p:spPr>
          <a:xfrm>
            <a:off x="414825" y="4263509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B) What is the duration of the noncallable bond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6A24A33-68AA-FB41-5274-CF6A2EEABC44}"/>
                  </a:ext>
                </a:extLst>
              </p:cNvPr>
              <p:cNvSpPr txBox="1"/>
              <p:nvPr/>
            </p:nvSpPr>
            <p:spPr>
              <a:xfrm>
                <a:off x="4362450" y="4915245"/>
                <a:ext cx="3365280" cy="6223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×105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≈1.9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6A24A33-68AA-FB41-5274-CF6A2EEABC4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362450" y="4915245"/>
                <a:ext cx="3365280" cy="62235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91707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FD016E-93DC-509E-9FEB-0EFF58BF5B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9D30B2-376E-3539-46A8-220F3207A6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E3620A-6BA5-1930-08D9-7CA1244C397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C3B217B-EF60-281A-82DB-26520EF21211}"/>
              </a:ext>
            </a:extLst>
          </p:cNvPr>
          <p:cNvSpPr txBox="1"/>
          <p:nvPr/>
        </p:nvSpPr>
        <p:spPr>
          <a:xfrm>
            <a:off x="414825" y="1504921"/>
            <a:ext cx="1103947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irm A  issued a five-year 5%-coupon  bond with a face value of 100 that currently trades at 95 euros and just paid the third coupon. Firm A also issued a ten-year 10%-coupon callable bond with a face value of 100 that just paid the ninth coupon. A callable bond gives the right to Firm A to buy back the bond at a specified price, in this case, the specified price is 92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51949B-3393-822E-1E81-FABE050F9841}"/>
              </a:ext>
            </a:extLst>
          </p:cNvPr>
          <p:cNvSpPr txBox="1"/>
          <p:nvPr/>
        </p:nvSpPr>
        <p:spPr>
          <a:xfrm>
            <a:off x="414824" y="2885671"/>
            <a:ext cx="110394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) Using the  duration approximation, find the yield that makes the noncallable bond trade at par (P =100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B882F35-D3A1-B5F0-38A2-E7AA01E72AE2}"/>
                  </a:ext>
                </a:extLst>
              </p:cNvPr>
              <p:cNvSpPr txBox="1"/>
              <p:nvPr/>
            </p:nvSpPr>
            <p:spPr>
              <a:xfrm>
                <a:off x="723900" y="3560553"/>
                <a:ext cx="2831224" cy="51860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⋅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m:rPr>
                              <m:sty m:val="p"/>
                            </m:rPr>
                            <a:rPr lang="en-US" b="0" i="0" smtClean="0">
                              <a:latin typeface="Cambria Math" panose="02040503050406030204" pitchFamily="18" charset="0"/>
                            </a:rPr>
                            <m:t>Δ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B882F35-D3A1-B5F0-38A2-E7AA01E72A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23900" y="3560553"/>
                <a:ext cx="2831224" cy="51860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Rectangle 5">
            <a:extLst>
              <a:ext uri="{FF2B5EF4-FFF2-40B4-BE49-F238E27FC236}">
                <a16:creationId xmlns:a16="http://schemas.microsoft.com/office/drawing/2014/main" id="{235319EB-36B6-5CBA-AF47-7E1C5C8BD1C9}"/>
              </a:ext>
            </a:extLst>
          </p:cNvPr>
          <p:cNvSpPr/>
          <p:nvPr/>
        </p:nvSpPr>
        <p:spPr bwMode="auto">
          <a:xfrm>
            <a:off x="3143250" y="3551028"/>
            <a:ext cx="430924" cy="237779"/>
          </a:xfrm>
          <a:prstGeom prst="rect">
            <a:avLst/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93C17D6-A100-787B-B033-27E528DE5522}"/>
                  </a:ext>
                </a:extLst>
              </p:cNvPr>
              <p:cNvSpPr txBox="1"/>
              <p:nvPr/>
            </p:nvSpPr>
            <p:spPr>
              <a:xfrm>
                <a:off x="3486150" y="3236283"/>
                <a:ext cx="98103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100−9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93C17D6-A100-787B-B033-27E528DE55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6150" y="3236283"/>
                <a:ext cx="981038" cy="276999"/>
              </a:xfrm>
              <a:prstGeom prst="rect">
                <a:avLst/>
              </a:prstGeom>
              <a:blipFill>
                <a:blip r:embed="rId3"/>
                <a:stretch>
                  <a:fillRect l="-4969" r="-4969" b="-1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390D84B-BAF4-FA88-E431-C0A0F9D4479D}"/>
                  </a:ext>
                </a:extLst>
              </p:cNvPr>
              <p:cNvSpPr txBox="1"/>
              <p:nvPr/>
            </p:nvSpPr>
            <p:spPr>
              <a:xfrm>
                <a:off x="3732833" y="3560553"/>
                <a:ext cx="2450158" cy="5260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m:rPr>
                          <m:sty m:val="p"/>
                        </m:rPr>
                        <a:rPr lang="en-US" b="0" i="0" smtClean="0">
                          <a:latin typeface="Cambria Math" panose="02040503050406030204" pitchFamily="18" charset="0"/>
                        </a:rPr>
                        <m:t>Δ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.9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≈−2.56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C390D84B-BAF4-FA88-E431-C0A0F9D4479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32833" y="3560553"/>
                <a:ext cx="2450158" cy="526041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2D7294EC-9E1E-C2C6-FF64-9F016890AF30}"/>
                  </a:ext>
                </a:extLst>
              </p:cNvPr>
              <p:cNvSpPr txBox="1"/>
              <p:nvPr/>
            </p:nvSpPr>
            <p:spPr>
              <a:xfrm>
                <a:off x="6448425" y="3681355"/>
                <a:ext cx="1210268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′</m:t>
                          </m:r>
                        </m:sup>
                      </m:sSup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≈5.24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2D7294EC-9E1E-C2C6-FF64-9F016890AF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48425" y="3681355"/>
                <a:ext cx="1210268" cy="276999"/>
              </a:xfrm>
              <a:prstGeom prst="rect">
                <a:avLst/>
              </a:prstGeom>
              <a:blipFill>
                <a:blip r:embed="rId5"/>
                <a:stretch>
                  <a:fillRect l="-4040" r="-4545" b="-2888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6" name="TextBox 15">
            <a:extLst>
              <a:ext uri="{FF2B5EF4-FFF2-40B4-BE49-F238E27FC236}">
                <a16:creationId xmlns:a16="http://schemas.microsoft.com/office/drawing/2014/main" id="{7E06372A-A55E-7352-E6CA-96FB3CD14ABC}"/>
              </a:ext>
            </a:extLst>
          </p:cNvPr>
          <p:cNvSpPr txBox="1"/>
          <p:nvPr/>
        </p:nvSpPr>
        <p:spPr>
          <a:xfrm>
            <a:off x="438150" y="4403756"/>
            <a:ext cx="78105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D) Find the exact yield that makes the non-callable bond trade at par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46023DC-18B8-5A06-0931-A1ED4002519A}"/>
                  </a:ext>
                </a:extLst>
              </p:cNvPr>
              <p:cNvSpPr txBox="1"/>
              <p:nvPr/>
            </p:nvSpPr>
            <p:spPr>
              <a:xfrm>
                <a:off x="3871694" y="4682493"/>
                <a:ext cx="3947299" cy="5732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5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00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5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A46023DC-18B8-5A06-0931-A1ED4002519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71694" y="4682493"/>
                <a:ext cx="3947299" cy="57329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8443D67-3EFC-DC62-BDFF-EFA27624CCA7}"/>
                  </a:ext>
                </a:extLst>
              </p:cNvPr>
              <p:cNvSpPr txBox="1"/>
              <p:nvPr/>
            </p:nvSpPr>
            <p:spPr>
              <a:xfrm>
                <a:off x="343958" y="5458700"/>
                <a:ext cx="2799292" cy="77886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𝐹𝑉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b="0" i="1" smtClean="0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  <m:e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𝑐𝐹𝑉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8443D67-3EFC-DC62-BDFF-EFA27624CC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958" y="5458700"/>
                <a:ext cx="2799292" cy="77886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73961B3-FE0E-2F9A-54C3-628349983679}"/>
                  </a:ext>
                </a:extLst>
              </p:cNvPr>
              <p:cNvSpPr txBox="1"/>
              <p:nvPr/>
            </p:nvSpPr>
            <p:spPr>
              <a:xfrm>
                <a:off x="3358712" y="5476443"/>
                <a:ext cx="3960828" cy="77886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𝐹𝑉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1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nary>
                        <m:naryPr>
                          <m:chr m:val="∑"/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naryPr>
                        <m:sub>
                          <m:r>
                            <m:rPr>
                              <m:brk m:alnAt="23"/>
                            </m:rPr>
                            <a:rPr lang="en-US" i="1">
                              <a:latin typeface="Cambria Math" panose="02040503050406030204" pitchFamily="18" charset="0"/>
                            </a:rPr>
                            <m:t>𝑡</m:t>
                          </m:r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=1</m:t>
                          </m:r>
                        </m:sub>
                        <m:sup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𝑇</m:t>
                          </m:r>
                        </m:sup>
                        <m:e>
                          <m:f>
                            <m:f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𝑐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i="1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</m:sup>
                              </m:sSup>
                            </m:den>
                          </m:f>
                        </m:e>
                      </m:nary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173961B3-FE0E-2F9A-54C3-6283499836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58712" y="5476443"/>
                <a:ext cx="3960828" cy="77886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D6B1F959-5BB9-2CF2-9E70-8B39C2D961D8}"/>
                  </a:ext>
                </a:extLst>
              </p:cNvPr>
              <p:cNvSpPr txBox="1"/>
              <p:nvPr/>
            </p:nvSpPr>
            <p:spPr>
              <a:xfrm>
                <a:off x="9608680" y="5705841"/>
                <a:ext cx="3691234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𝑐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′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D6B1F959-5BB9-2CF2-9E70-8B39C2D961D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08680" y="5705841"/>
                <a:ext cx="3691234" cy="369332"/>
              </a:xfrm>
              <a:prstGeom prst="rect">
                <a:avLst/>
              </a:prstGeom>
              <a:blipFill>
                <a:blip r:embed="rId9"/>
                <a:stretch>
                  <a:fillRect b="-147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835EB9C-38E5-D84B-48F2-594F17AD1224}"/>
                  </a:ext>
                </a:extLst>
              </p:cNvPr>
              <p:cNvSpPr txBox="1"/>
              <p:nvPr/>
            </p:nvSpPr>
            <p:spPr>
              <a:xfrm>
                <a:off x="7053559" y="5522885"/>
                <a:ext cx="4132669" cy="7146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1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′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𝑇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−</m:t>
                          </m:r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𝑦</m:t>
                                      </m:r>
                                      <m: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  <m:t>′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𝑇</m:t>
                                  </m:r>
                                </m:sup>
                              </m:sSup>
                            </m:den>
                          </m:f>
                        </m:e>
                      </m:d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4835EB9C-38E5-D84B-48F2-594F17AD122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053559" y="5522885"/>
                <a:ext cx="4132669" cy="714683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63A5202-4A21-C75A-5937-CD862BFD82A7}"/>
                  </a:ext>
                </a:extLst>
              </p:cNvPr>
              <p:cNvSpPr txBox="1"/>
              <p:nvPr/>
            </p:nvSpPr>
            <p:spPr>
              <a:xfrm>
                <a:off x="7905750" y="4776092"/>
                <a:ext cx="3926203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If a coupon bond trades at par, </a:t>
                </a:r>
                <a14:m>
                  <m:oMath xmlns:m="http://schemas.openxmlformats.org/officeDocument/2006/math">
                    <m:r>
                      <a:rPr lang="en-US" i="1" dirty="0" smtClean="0">
                        <a:latin typeface="Cambria Math" panose="02040503050406030204" pitchFamily="18" charset="0"/>
                      </a:rPr>
                      <m:t>𝑐</m:t>
                    </m:r>
                    <m:r>
                      <a:rPr lang="en-US" i="1" dirty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i="1" dirty="0" smtClean="0">
                        <a:latin typeface="Cambria Math" panose="02040503050406030204" pitchFamily="18" charset="0"/>
                      </a:rPr>
                      <m:t>𝑦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63A5202-4A21-C75A-5937-CD862BFD82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905750" y="4776092"/>
                <a:ext cx="3926203" cy="369332"/>
              </a:xfrm>
              <a:prstGeom prst="rect">
                <a:avLst/>
              </a:prstGeom>
              <a:blipFill>
                <a:blip r:embed="rId11"/>
                <a:stretch>
                  <a:fillRect l="-1398" t="-8197" b="-2459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39348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9" grpId="0"/>
      <p:bldP spid="11" grpId="0"/>
      <p:bldP spid="14" grpId="0"/>
      <p:bldP spid="16" grpId="0"/>
      <p:bldP spid="17" grpId="0"/>
      <p:bldP spid="18" grpId="0"/>
      <p:bldP spid="19" grpId="0"/>
      <p:bldP spid="20" grpId="0"/>
      <p:bldP spid="21" grpId="0"/>
      <p:bldP spid="2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D108908-6FE3-C360-D237-00881ED5DD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A67A6D9-E99B-7B2C-A362-E1DCF3C577D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5115CF-0E89-6650-B5C2-B91212BF804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1A55EE8-FDC5-EBDF-2C90-99C65584A4A5}"/>
              </a:ext>
            </a:extLst>
          </p:cNvPr>
          <p:cNvSpPr txBox="1"/>
          <p:nvPr/>
        </p:nvSpPr>
        <p:spPr>
          <a:xfrm>
            <a:off x="414825" y="1504921"/>
            <a:ext cx="1103947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irm A  issued a five-year 5%-coupon  bond with a face value of 100 that currently trades at 95 euros and just paid the third coupon. Firm A also issued a ten-year 10%-coupon callable bond with a face value of 100 that just paid the ninth coupon. A callable bond gives the right to Firm A to buy back the bond at a specified price, in this case, the specified price is 92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DA11C9D-A5C1-5747-8F1A-A04DA384A815}"/>
              </a:ext>
            </a:extLst>
          </p:cNvPr>
          <p:cNvSpPr txBox="1"/>
          <p:nvPr/>
        </p:nvSpPr>
        <p:spPr>
          <a:xfrm>
            <a:off x="414825" y="2885671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E) What is the maximum yield for which Firm A calls the bond?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E5F47EB-06DF-B904-AE11-41120DCEFB14}"/>
                  </a:ext>
                </a:extLst>
              </p:cNvPr>
              <p:cNvSpPr txBox="1"/>
              <p:nvPr/>
            </p:nvSpPr>
            <p:spPr>
              <a:xfrm>
                <a:off x="3092507" y="3429000"/>
                <a:ext cx="1609415" cy="5677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1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&gt;92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BE5F47EB-06DF-B904-AE11-41120DCEFB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92507" y="3429000"/>
                <a:ext cx="1609415" cy="567720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CFC1B7CE-48C8-FD84-AB9E-F1E8840C784F}"/>
                  </a:ext>
                </a:extLst>
              </p:cNvPr>
              <p:cNvSpPr txBox="1"/>
              <p:nvPr/>
            </p:nvSpPr>
            <p:spPr>
              <a:xfrm>
                <a:off x="4853629" y="3574360"/>
                <a:ext cx="264495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CFC1B7CE-48C8-FD84-AB9E-F1E8840C78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53629" y="3574360"/>
                <a:ext cx="264495" cy="276999"/>
              </a:xfrm>
              <a:prstGeom prst="rect">
                <a:avLst/>
              </a:prstGeom>
              <a:blipFill>
                <a:blip r:embed="rId3"/>
                <a:stretch>
                  <a:fillRect l="-13636" r="-11364" b="-217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DF02659-EC99-DC8B-D90C-761A32D5F712}"/>
                  </a:ext>
                </a:extLst>
              </p:cNvPr>
              <p:cNvSpPr txBox="1"/>
              <p:nvPr/>
            </p:nvSpPr>
            <p:spPr>
              <a:xfrm>
                <a:off x="5291292" y="3428999"/>
                <a:ext cx="2355581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&lt;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1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92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=19.57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DF02659-EC99-DC8B-D90C-761A32D5F71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91292" y="3428999"/>
                <a:ext cx="2355581" cy="520399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57023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D3E5CF-D2B7-D53A-8FB3-5A95430333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AC9C2AD-38D3-9CFF-925C-BF38BB5C9F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ECEFD0-7E9A-552D-8B93-2EBF9C609ED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Multiple Choice 4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30C524E-FF16-3180-E86E-78AC692BED12}"/>
              </a:ext>
            </a:extLst>
          </p:cNvPr>
          <p:cNvSpPr txBox="1"/>
          <p:nvPr/>
        </p:nvSpPr>
        <p:spPr>
          <a:xfrm>
            <a:off x="561973" y="1703549"/>
            <a:ext cx="1104900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t"/>
            <a:r>
              <a:rPr lang="en-US" sz="1800" u="none" strike="noStrike" dirty="0">
                <a:effectLst/>
              </a:rPr>
              <a:t>Consider a two-year coupon bond with a 5% coupon rate, face value equal to 100, and price equal to 91. Which of the following statements is true? Assume coupons are paid annually. 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455719D-D03D-9893-7101-8D89430AE2BA}"/>
              </a:ext>
            </a:extLst>
          </p:cNvPr>
          <p:cNvSpPr txBox="1"/>
          <p:nvPr/>
        </p:nvSpPr>
        <p:spPr>
          <a:xfrm>
            <a:off x="561974" y="2451930"/>
            <a:ext cx="609600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US" sz="1800" u="none" strike="noStrike" dirty="0">
                <a:effectLst/>
              </a:rPr>
              <a:t>a) The yield of the bond is 10.2%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b) The duration of the bond is 2.08 years</a:t>
            </a:r>
          </a:p>
          <a:p>
            <a:pPr fontAlgn="t"/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  <a:p>
            <a:pPr fontAlgn="t"/>
            <a:r>
              <a:rPr lang="en-US" dirty="0">
                <a:solidFill>
                  <a:srgbClr val="000000"/>
                </a:solidFill>
                <a:latin typeface="Aptos Narrow" panose="020B0004020202020204" pitchFamily="34" charset="0"/>
              </a:rPr>
              <a:t>c) </a:t>
            </a:r>
            <a:r>
              <a:rPr lang="en-US" dirty="0"/>
              <a:t>If interest rates increase by 1%, the bond price increases by 1.95%</a:t>
            </a:r>
            <a:br>
              <a:rPr lang="en-US" sz="1800" u="none" strike="noStrike" dirty="0">
                <a:effectLst/>
              </a:rPr>
            </a:br>
            <a:br>
              <a:rPr lang="en-US" sz="1800" u="none" strike="noStrike" dirty="0">
                <a:effectLst/>
              </a:rPr>
            </a:br>
            <a:r>
              <a:rPr lang="en-US" sz="1800" u="none" strike="noStrike" dirty="0">
                <a:effectLst/>
              </a:rPr>
              <a:t>d) The price change of the bond in the first year is 5.5%</a:t>
            </a:r>
            <a:endParaRPr lang="en-US" sz="1800" b="0" i="0" u="none" strike="noStrike" dirty="0">
              <a:solidFill>
                <a:srgbClr val="000000"/>
              </a:solidFill>
              <a:effectLst/>
              <a:latin typeface="Aptos Narrow" panose="020B00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DB7BE0-1EA0-C49E-3425-15E82ADCDD41}"/>
              </a:ext>
            </a:extLst>
          </p:cNvPr>
          <p:cNvSpPr txBox="1"/>
          <p:nvPr/>
        </p:nvSpPr>
        <p:spPr>
          <a:xfrm>
            <a:off x="6657974" y="2989790"/>
            <a:ext cx="52822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rgbClr val="FF0000"/>
                </a:solidFill>
              </a:rPr>
              <a:t>Duration is always lower than maturity for coupon bonds</a:t>
            </a:r>
          </a:p>
        </p:txBody>
      </p:sp>
      <p:sp>
        <p:nvSpPr>
          <p:cNvPr id="5" name="Multiplication Sign 4">
            <a:extLst>
              <a:ext uri="{FF2B5EF4-FFF2-40B4-BE49-F238E27FC236}">
                <a16:creationId xmlns:a16="http://schemas.microsoft.com/office/drawing/2014/main" id="{6A6DB1BC-9F8A-4B0D-835C-133A2921C720}"/>
              </a:ext>
            </a:extLst>
          </p:cNvPr>
          <p:cNvSpPr/>
          <p:nvPr/>
        </p:nvSpPr>
        <p:spPr bwMode="auto">
          <a:xfrm>
            <a:off x="5885440" y="2989790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486EEF0-AEEB-587B-97B4-5E78A8F74BB8}"/>
                  </a:ext>
                </a:extLst>
              </p:cNvPr>
              <p:cNvSpPr txBox="1"/>
              <p:nvPr/>
            </p:nvSpPr>
            <p:spPr>
              <a:xfrm>
                <a:off x="6657974" y="2387766"/>
                <a:ext cx="3448636" cy="6020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5</m:t>
                          </m:r>
                        </m:num>
                        <m:den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05</m:t>
                          </m:r>
                        </m:num>
                        <m:den>
                          <m:sSup>
                            <m:sSupPr>
                              <m:ctrlPr>
                                <a:rPr lang="en-US" sz="1600" b="0" i="1" dirty="0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sz="1600" b="0" i="1" dirty="0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600" b="0" i="1" dirty="0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sz="1600" b="0" i="1" dirty="0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sz="1600" b="0" i="1" dirty="0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den>
                      </m:f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91⇒</m:t>
                      </m:r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10.2%</m:t>
                      </m:r>
                    </m:oMath>
                  </m:oMathPara>
                </a14:m>
                <a:endParaRPr lang="en-US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486EEF0-AEEB-587B-97B4-5E78A8F74BB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657974" y="2387766"/>
                <a:ext cx="3448636" cy="602024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FDD0208B-742D-89B5-03F6-DD786CB19716}"/>
                  </a:ext>
                </a:extLst>
              </p:cNvPr>
              <p:cNvSpPr txBox="1"/>
              <p:nvPr/>
            </p:nvSpPr>
            <p:spPr>
              <a:xfrm>
                <a:off x="6772274" y="3372835"/>
                <a:ext cx="3727559" cy="8416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p>
                        <m:sSupPr>
                          <m:ctrlP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</m:t>
                          </m:r>
                        </m:e>
                        <m:sup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sup>
                      </m:sSup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𝐷</m:t>
                          </m:r>
                        </m:num>
                        <m:den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sz="1600" b="0" i="1" dirty="0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1.95;</m:t>
                      </m:r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𝐷</m:t>
                      </m:r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&lt;2⇒</m:t>
                      </m:r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𝑦</m:t>
                      </m:r>
                      <m:r>
                        <a:rPr lang="en-US" sz="1600" b="0" i="1" dirty="0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&lt;2.6%</m:t>
                      </m:r>
                    </m:oMath>
                  </m:oMathPara>
                </a14:m>
                <a:br>
                  <a:rPr lang="en-US" sz="1600" b="0" dirty="0">
                    <a:solidFill>
                      <a:srgbClr val="FF0000"/>
                    </a:solidFill>
                  </a:rPr>
                </a:br>
                <a:endParaRPr lang="en-US" sz="1600" b="0" dirty="0">
                  <a:solidFill>
                    <a:srgbClr val="FF0000"/>
                  </a:solidFill>
                </a:endParaRPr>
              </a:p>
              <a:p>
                <a:r>
                  <a:rPr lang="en-US" sz="1600" dirty="0">
                    <a:solidFill>
                      <a:srgbClr val="FF0000"/>
                    </a:solidFill>
                  </a:rPr>
                  <a:t>If the bond is below par (</a:t>
                </a:r>
                <a14:m>
                  <m:oMath xmlns:m="http://schemas.openxmlformats.org/officeDocument/2006/math">
                    <m:r>
                      <a:rPr lang="en-US" sz="160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𝑦</m:t>
                    </m:r>
                    <m:r>
                      <a:rPr lang="en-US" sz="160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&gt;</m:t>
                    </m:r>
                    <m:r>
                      <a:rPr lang="en-US" sz="1600" i="1" dirty="0" smtClean="0">
                        <a:solidFill>
                          <a:srgbClr val="FF0000"/>
                        </a:solidFill>
                        <a:latin typeface="Cambria Math" panose="02040503050406030204" pitchFamily="18" charset="0"/>
                      </a:rPr>
                      <m:t>𝑐</m:t>
                    </m:r>
                  </m:oMath>
                </a14:m>
                <a:r>
                  <a:rPr lang="en-US" sz="1600" dirty="0">
                    <a:solidFill>
                      <a:srgbClr val="FF0000"/>
                    </a:solidFill>
                  </a:rPr>
                  <a:t>)</a:t>
                </a:r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FDD0208B-742D-89B5-03F6-DD786CB1971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772274" y="3372835"/>
                <a:ext cx="3727559" cy="841641"/>
              </a:xfrm>
              <a:prstGeom prst="rect">
                <a:avLst/>
              </a:prstGeom>
              <a:blipFill>
                <a:blip r:embed="rId3"/>
                <a:stretch>
                  <a:fillRect l="-982" b="-869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Multiplication Sign 9">
            <a:extLst>
              <a:ext uri="{FF2B5EF4-FFF2-40B4-BE49-F238E27FC236}">
                <a16:creationId xmlns:a16="http://schemas.microsoft.com/office/drawing/2014/main" id="{3A541E03-FFC7-38D2-885A-83BC6172A3CB}"/>
              </a:ext>
            </a:extLst>
          </p:cNvPr>
          <p:cNvSpPr/>
          <p:nvPr/>
        </p:nvSpPr>
        <p:spPr bwMode="auto">
          <a:xfrm>
            <a:off x="5888078" y="3624378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63E26E5-9237-5B17-031C-ABD3B7106B13}"/>
                  </a:ext>
                </a:extLst>
              </p:cNvPr>
              <p:cNvSpPr txBox="1"/>
              <p:nvPr/>
            </p:nvSpPr>
            <p:spPr>
              <a:xfrm>
                <a:off x="1133474" y="4894279"/>
                <a:ext cx="1183016" cy="60202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05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</m:oMath>
                  </m:oMathPara>
                </a14:m>
                <a:endParaRPr lang="en-US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63E26E5-9237-5B17-031C-ABD3B7106B1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33474" y="4894279"/>
                <a:ext cx="1183016" cy="602024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35381A8-7044-2730-9FAA-F15839D242B7}"/>
                  </a:ext>
                </a:extLst>
              </p:cNvPr>
              <p:cNvSpPr txBox="1"/>
              <p:nvPr/>
            </p:nvSpPr>
            <p:spPr>
              <a:xfrm>
                <a:off x="2647949" y="4894279"/>
                <a:ext cx="2294090" cy="64556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+</m:t>
                          </m:r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den>
                      </m:f>
                      <m:d>
                        <m:dPr>
                          <m:ctrlP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5+</m:t>
                          </m:r>
                          <m:f>
                            <m:fPr>
                              <m:ctrlP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105</m:t>
                              </m:r>
                            </m:num>
                            <m:den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1+</m:t>
                              </m:r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𝑦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en-US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335381A8-7044-2730-9FAA-F15839D242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47949" y="4894279"/>
                <a:ext cx="2294090" cy="645561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D194CE4-D34E-AF86-C9CB-1ACC4BEE6D06}"/>
                  </a:ext>
                </a:extLst>
              </p:cNvPr>
              <p:cNvSpPr txBox="1"/>
              <p:nvPr/>
            </p:nvSpPr>
            <p:spPr>
              <a:xfrm>
                <a:off x="5143499" y="4850742"/>
                <a:ext cx="2514214" cy="105182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sub>
                          </m:sSub>
                        </m:den>
                      </m:f>
                      <m:r>
                        <a:rPr lang="en-US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600" b="0" i="1" smtClean="0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05</m:t>
                          </m:r>
                        </m:num>
                        <m:den>
                          <m:d>
                            <m:dPr>
                              <m:ctrlP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sz="1600" b="0" i="1" smtClean="0">
                                  <a:solidFill>
                                    <a:srgbClr val="FF0000"/>
                                  </a:solidFill>
                                  <a:latin typeface="Cambria Math" panose="02040503050406030204" pitchFamily="18" charset="0"/>
                                </a:rPr>
                                <m:t>5+</m:t>
                              </m:r>
                              <m:f>
                                <m:fPr>
                                  <m:ctrlPr>
                                    <a:rPr lang="en-US" sz="16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6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105</m:t>
                                  </m:r>
                                </m:num>
                                <m:den>
                                  <m:r>
                                    <a:rPr lang="en-US" sz="16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sz="1600" b="0" i="1" smtClean="0">
                                      <a:solidFill>
                                        <a:srgbClr val="FF0000"/>
                                      </a:solidFill>
                                      <a:latin typeface="Cambria Math" panose="02040503050406030204" pitchFamily="18" charset="0"/>
                                    </a:rPr>
                                    <m:t>𝑦</m:t>
                                  </m:r>
                                </m:den>
                              </m:f>
                            </m:e>
                          </m:d>
                        </m:den>
                      </m:f>
                      <m:r>
                        <a:rPr lang="en-US" sz="1600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=1.047</m:t>
                      </m:r>
                    </m:oMath>
                  </m:oMathPara>
                </a14:m>
                <a:endParaRPr lang="en-US" sz="1600" b="0" dirty="0">
                  <a:solidFill>
                    <a:srgbClr val="FF0000"/>
                  </a:solidFill>
                </a:endParaRPr>
              </a:p>
              <a:p>
                <a:endParaRPr lang="en-US" sz="1600" dirty="0">
                  <a:solidFill>
                    <a:srgbClr val="FF0000"/>
                  </a:solidFill>
                </a:endParaRPr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7D194CE4-D34E-AF86-C9CB-1ACC4BEE6D0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43499" y="4850742"/>
                <a:ext cx="2514214" cy="1051826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Multiplication Sign 13">
            <a:extLst>
              <a:ext uri="{FF2B5EF4-FFF2-40B4-BE49-F238E27FC236}">
                <a16:creationId xmlns:a16="http://schemas.microsoft.com/office/drawing/2014/main" id="{67E11249-89CD-91D8-ABFF-25F008E9EE52}"/>
              </a:ext>
            </a:extLst>
          </p:cNvPr>
          <p:cNvSpPr/>
          <p:nvPr/>
        </p:nvSpPr>
        <p:spPr bwMode="auto">
          <a:xfrm>
            <a:off x="6421777" y="4368324"/>
            <a:ext cx="279873" cy="338554"/>
          </a:xfrm>
          <a:prstGeom prst="mathMultiply">
            <a:avLst/>
          </a:prstGeom>
          <a:solidFill>
            <a:srgbClr val="E00026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793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8" grpId="0"/>
      <p:bldP spid="9" grpId="0"/>
      <p:bldP spid="10" grpId="0" animBg="1"/>
      <p:bldP spid="11" grpId="0"/>
      <p:bldP spid="12" grpId="0"/>
      <p:bldP spid="13" grpId="0"/>
      <p:bldP spid="1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82C0BB7-371C-181E-BD09-66A1D0F0B43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4BD6F68-652B-535D-C102-5640A42BD9F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Exercise 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52D75A2-533D-8609-A322-9B1975D45900}"/>
              </a:ext>
            </a:extLst>
          </p:cNvPr>
          <p:cNvSpPr txBox="1"/>
          <p:nvPr/>
        </p:nvSpPr>
        <p:spPr>
          <a:xfrm>
            <a:off x="614362" y="1400175"/>
            <a:ext cx="1096327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onsider for the first four questions the firms B, C, and D. Firm B has an expected return of 4%, Firm C, 6%, and Firm D, 6.5%. The standard deviation of Firm B,C, D are 20%, 25%, 32%, respectively. The returns of Firm B and C have a correlation of 0.2, the returns of Firm B and D have a correlation of 0.3, and the returns of Firm C and D are independent (uncorrelated). The risk-free asset return is 2%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CFFCFE-BD58-C3C0-241D-9F40A3887870}"/>
              </a:ext>
            </a:extLst>
          </p:cNvPr>
          <p:cNvSpPr txBox="1"/>
          <p:nvPr/>
        </p:nvSpPr>
        <p:spPr>
          <a:xfrm>
            <a:off x="614362" y="305966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A) What is the average return of an equally-weighted portfolio? 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764DED5-84EB-74E1-BA08-454E0188AA22}"/>
                  </a:ext>
                </a:extLst>
              </p:cNvPr>
              <p:cNvSpPr txBox="1"/>
              <p:nvPr/>
            </p:nvSpPr>
            <p:spPr>
              <a:xfrm>
                <a:off x="5100270" y="3627964"/>
                <a:ext cx="2901179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𝐸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+6+6.5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5.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6764DED5-84EB-74E1-BA08-454E0188AA2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00270" y="3627964"/>
                <a:ext cx="2901179" cy="520399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0" name="TextBox 9">
            <a:extLst>
              <a:ext uri="{FF2B5EF4-FFF2-40B4-BE49-F238E27FC236}">
                <a16:creationId xmlns:a16="http://schemas.microsoft.com/office/drawing/2014/main" id="{1889FDE7-EFC5-AFB1-BF0C-4233E2FB15F3}"/>
              </a:ext>
            </a:extLst>
          </p:cNvPr>
          <p:cNvSpPr txBox="1"/>
          <p:nvPr/>
        </p:nvSpPr>
        <p:spPr>
          <a:xfrm>
            <a:off x="614362" y="4347327"/>
            <a:ext cx="888206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0" i="0" u="none" strike="noStrike" dirty="0">
                <a:solidFill>
                  <a:srgbClr val="000000"/>
                </a:solidFill>
                <a:effectLst/>
                <a:latin typeface="Aptos Narrow" panose="020B0004020202020204" pitchFamily="34" charset="0"/>
              </a:rPr>
              <a:t>B) What is the standard deviation of an equally-weighted portfolio?</a:t>
            </a:r>
            <a:r>
              <a:rPr lang="en-US" dirty="0"/>
              <a:t>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698B93F-B1BD-404A-82B7-EBF44C3BF20C}"/>
                  </a:ext>
                </a:extLst>
              </p:cNvPr>
              <p:cNvSpPr txBox="1"/>
              <p:nvPr/>
            </p:nvSpPr>
            <p:spPr>
              <a:xfrm>
                <a:off x="2378868" y="4915623"/>
                <a:ext cx="7985584" cy="5203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𝑉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9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.2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.25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0.32</m:t>
                              </m:r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9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0.2⋅0.25⋅0.2+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9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0.3⋅0.2⋅0.32=0.0292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8698B93F-B1BD-404A-82B7-EBF44C3BF20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78868" y="4915623"/>
                <a:ext cx="7985584" cy="520399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AA2C8EE-245D-FF73-46C1-E6A3CD8527BB}"/>
                  </a:ext>
                </a:extLst>
              </p:cNvPr>
              <p:cNvSpPr txBox="1"/>
              <p:nvPr/>
            </p:nvSpPr>
            <p:spPr>
              <a:xfrm>
                <a:off x="2619375" y="5762108"/>
                <a:ext cx="6096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𝑠𝑡𝑑</m:t>
                      </m:r>
                      <m:d>
                        <m:d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</m:e>
                      </m:d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17.10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4AA2C8EE-245D-FF73-46C1-E6A3CD8527B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619375" y="5762108"/>
                <a:ext cx="6096000" cy="369332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5418734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0" grpId="0"/>
      <p:bldP spid="11" grpId="0"/>
      <p:bldP spid="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 - FS">
  <a:themeElements>
    <a:clrScheme name="Nova FS">
      <a:dk1>
        <a:sysClr val="windowText" lastClr="000000"/>
      </a:dk1>
      <a:lt1>
        <a:sysClr val="window" lastClr="FFFFFF"/>
      </a:lt1>
      <a:dk2>
        <a:srgbClr val="005AA9"/>
      </a:dk2>
      <a:lt2>
        <a:srgbClr val="EEECE1"/>
      </a:lt2>
      <a:accent1>
        <a:srgbClr val="4F81BD"/>
      </a:accent1>
      <a:accent2>
        <a:srgbClr val="A45355"/>
      </a:accent2>
      <a:accent3>
        <a:srgbClr val="B1B7B3"/>
      </a:accent3>
      <a:accent4>
        <a:srgbClr val="415E50"/>
      </a:accent4>
      <a:accent5>
        <a:srgbClr val="636965"/>
      </a:accent5>
      <a:accent6>
        <a:srgbClr val="9E0927"/>
      </a:accent6>
      <a:hlink>
        <a:srgbClr val="0000FF"/>
      </a:hlink>
      <a:folHlink>
        <a:srgbClr val="800080"/>
      </a:folHlink>
    </a:clrScheme>
    <a:fontScheme name="Nova FS">
      <a:majorFont>
        <a:latin typeface="PlayFair"/>
        <a:ea typeface="Helvetica Neue Medium"/>
        <a:cs typeface="Helvetica Neue Medium"/>
      </a:majorFont>
      <a:minorFont>
        <a:latin typeface="Open Sans Light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va SBE lectures" id="{B4C2F531-9F58-4221-A636-24753EC4F29B}" vid="{655F7426-5416-406A-9D35-9D5AEE0F8E30}"/>
    </a:ext>
  </a:extLst>
</a:theme>
</file>

<file path=ppt/theme/theme2.xml><?xml version="1.0" encoding="utf-8"?>
<a:theme xmlns:a="http://schemas.openxmlformats.org/drawingml/2006/main" name="Content">
  <a:themeElements>
    <a:clrScheme name="A NF">
      <a:dk1>
        <a:sysClr val="windowText" lastClr="000000"/>
      </a:dk1>
      <a:lt1>
        <a:sysClr val="window" lastClr="FFFFFF"/>
      </a:lt1>
      <a:dk2>
        <a:srgbClr val="005AA9"/>
      </a:dk2>
      <a:lt2>
        <a:srgbClr val="EEECE1"/>
      </a:lt2>
      <a:accent1>
        <a:srgbClr val="4F81BD"/>
      </a:accent1>
      <a:accent2>
        <a:srgbClr val="A45355"/>
      </a:accent2>
      <a:accent3>
        <a:srgbClr val="B1B7B3"/>
      </a:accent3>
      <a:accent4>
        <a:srgbClr val="415E50"/>
      </a:accent4>
      <a:accent5>
        <a:srgbClr val="636965"/>
      </a:accent5>
      <a:accent6>
        <a:srgbClr val="9E0927"/>
      </a:accent6>
      <a:hlink>
        <a:srgbClr val="0000FF"/>
      </a:hlink>
      <a:folHlink>
        <a:srgbClr val="800080"/>
      </a:folHlink>
    </a:clrScheme>
    <a:fontScheme name="Nova FS">
      <a:majorFont>
        <a:latin typeface="PlayFair"/>
        <a:ea typeface="Helvetica Neue Medium"/>
        <a:cs typeface="Helvetica Neue Medium"/>
      </a:majorFont>
      <a:minorFont>
        <a:latin typeface="Open Sans Light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00026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N W3" charset="0"/>
            <a:cs typeface="ヒラギノ角ゴ ProN W3" charset="0"/>
            <a:sym typeface="Arial" charset="0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 SBE lectures" id="{B4C2F531-9F58-4221-A636-24753EC4F29B}" vid="{2AD40D23-A621-4A11-8549-82627BCB3BA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ova SBE lectures</Template>
  <TotalTime>5837</TotalTime>
  <Words>2081</Words>
  <Application>Microsoft Office PowerPoint</Application>
  <PresentationFormat>Widescreen</PresentationFormat>
  <Paragraphs>167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8" baseType="lpstr">
      <vt:lpstr>Aptos Narrow</vt:lpstr>
      <vt:lpstr>Arial</vt:lpstr>
      <vt:lpstr>Calibri</vt:lpstr>
      <vt:lpstr>Cambria Math</vt:lpstr>
      <vt:lpstr>Open Sans</vt:lpstr>
      <vt:lpstr>Open Sans </vt:lpstr>
      <vt:lpstr>Open Sans Light</vt:lpstr>
      <vt:lpstr>Playfair Display</vt:lpstr>
      <vt:lpstr>Wingdings</vt:lpstr>
      <vt:lpstr>Nova - FS</vt:lpstr>
      <vt:lpstr>Conten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garida Soares</dc:creator>
  <cp:lastModifiedBy>Julio Crego</cp:lastModifiedBy>
  <cp:revision>49</cp:revision>
  <dcterms:created xsi:type="dcterms:W3CDTF">2020-09-04T18:01:33Z</dcterms:created>
  <dcterms:modified xsi:type="dcterms:W3CDTF">2025-03-16T18:33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29f4804-9ab0-4527-a877-f7a87100f5fc_Enabled">
    <vt:lpwstr>true</vt:lpwstr>
  </property>
  <property fmtid="{D5CDD505-2E9C-101B-9397-08002B2CF9AE}" pid="3" name="MSIP_Label_b29f4804-9ab0-4527-a877-f7a87100f5fc_SetDate">
    <vt:lpwstr>2025-02-18T11:55:40Z</vt:lpwstr>
  </property>
  <property fmtid="{D5CDD505-2E9C-101B-9397-08002B2CF9AE}" pid="4" name="MSIP_Label_b29f4804-9ab0-4527-a877-f7a87100f5fc_Method">
    <vt:lpwstr>Standard</vt:lpwstr>
  </property>
  <property fmtid="{D5CDD505-2E9C-101B-9397-08002B2CF9AE}" pid="5" name="MSIP_Label_b29f4804-9ab0-4527-a877-f7a87100f5fc_Name">
    <vt:lpwstr>General</vt:lpwstr>
  </property>
  <property fmtid="{D5CDD505-2E9C-101B-9397-08002B2CF9AE}" pid="6" name="MSIP_Label_b29f4804-9ab0-4527-a877-f7a87100f5fc_SiteId">
    <vt:lpwstr>7a5561df-6599-4898-8a20-cce41db3b44f</vt:lpwstr>
  </property>
  <property fmtid="{D5CDD505-2E9C-101B-9397-08002B2CF9AE}" pid="7" name="MSIP_Label_b29f4804-9ab0-4527-a877-f7a87100f5fc_ActionId">
    <vt:lpwstr>0a0ac92d-6a73-4b7d-ad6b-e5aadf4c65bb</vt:lpwstr>
  </property>
  <property fmtid="{D5CDD505-2E9C-101B-9397-08002B2CF9AE}" pid="8" name="MSIP_Label_b29f4804-9ab0-4527-a877-f7a87100f5fc_ContentBits">
    <vt:lpwstr>0</vt:lpwstr>
  </property>
  <property fmtid="{D5CDD505-2E9C-101B-9397-08002B2CF9AE}" pid="9" name="MSIP_Label_b29f4804-9ab0-4527-a877-f7a87100f5fc_Tag">
    <vt:lpwstr>10, 3, 0, 1</vt:lpwstr>
  </property>
</Properties>
</file>